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2.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Override3.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Override4.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Override5.xml" ContentType="application/vnd.openxmlformats-officedocument.themeOverr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Override6.xml" ContentType="application/vnd.openxmlformats-officedocument.themeOverr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heme/themeOverride7.xml" ContentType="application/vnd.openxmlformats-officedocument.themeOverr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Override8.xml" ContentType="application/vnd.openxmlformats-officedocument.themeOverride+xml"/>
  <Override PartName="/ppt/tags/tag54.xml" ContentType="application/vnd.openxmlformats-officedocument.presentationml.tags+xml"/>
  <Override PartName="/ppt/tags/tag55.xml" ContentType="application/vnd.openxmlformats-officedocument.presentationml.tags+xml"/>
  <Override PartName="/ppt/theme/themeOverride9.xml" ContentType="application/vnd.openxmlformats-officedocument.themeOverride+xml"/>
  <Override PartName="/ppt/tags/tag56.xml" ContentType="application/vnd.openxmlformats-officedocument.presentationml.tags+xml"/>
  <Override PartName="/ppt/tags/tag57.xml" ContentType="application/vnd.openxmlformats-officedocument.presentationml.tags+xml"/>
  <Override PartName="/ppt/theme/themeOverride10.xml" ContentType="application/vnd.openxmlformats-officedocument.themeOverride+xml"/>
  <Override PartName="/ppt/tags/tag58.xml" ContentType="application/vnd.openxmlformats-officedocument.presentationml.tags+xml"/>
  <Override PartName="/ppt/tags/tag59.xml" ContentType="application/vnd.openxmlformats-officedocument.presentationml.tags+xml"/>
  <Override PartName="/ppt/theme/themeOverride11.xml" ContentType="application/vnd.openxmlformats-officedocument.themeOverride+xml"/>
  <Override PartName="/ppt/tags/tag60.xml" ContentType="application/vnd.openxmlformats-officedocument.presentationml.tags+xml"/>
  <Override PartName="/ppt/tags/tag61.xml" ContentType="application/vnd.openxmlformats-officedocument.presentationml.tags+xml"/>
  <Override PartName="/ppt/theme/themeOverride12.xml" ContentType="application/vnd.openxmlformats-officedocument.themeOverride+xml"/>
  <Override PartName="/ppt/tags/tag62.xml" ContentType="application/vnd.openxmlformats-officedocument.presentationml.tags+xml"/>
  <Override PartName="/ppt/tags/tag63.xml" ContentType="application/vnd.openxmlformats-officedocument.presentationml.tags+xml"/>
  <Override PartName="/ppt/theme/themeOverride13.xml" ContentType="application/vnd.openxmlformats-officedocument.themeOverride+xml"/>
  <Override PartName="/ppt/tags/tag64.xml" ContentType="application/vnd.openxmlformats-officedocument.presentationml.tags+xml"/>
  <Override PartName="/ppt/tags/tag65.xml" ContentType="application/vnd.openxmlformats-officedocument.presentationml.tags+xml"/>
  <Override PartName="/ppt/theme/themeOverride14.xml" ContentType="application/vnd.openxmlformats-officedocument.themeOverr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heme/themeOverride15.xml" ContentType="application/vnd.openxmlformats-officedocument.themeOverr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Override16.xml" ContentType="application/vnd.openxmlformats-officedocument.themeOverr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Override17.xml" ContentType="application/vnd.openxmlformats-officedocument.themeOverr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heme/themeOverride18.xml" ContentType="application/vnd.openxmlformats-officedocument.themeOverr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Override19.xml" ContentType="application/vnd.openxmlformats-officedocument.themeOverride+xml"/>
  <Override PartName="/ppt/tags/tag89.xml" ContentType="application/vnd.openxmlformats-officedocument.presentationml.tags+xml"/>
  <Override PartName="/ppt/theme/themeOverride20.xml" ContentType="application/vnd.openxmlformats-officedocument.themeOverrid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heme/themeOverride21.xml" ContentType="application/vnd.openxmlformats-officedocument.themeOverride+xml"/>
  <Override PartName="/ppt/tags/tag95.xml" ContentType="application/vnd.openxmlformats-officedocument.presentationml.tags+xml"/>
  <Override PartName="/ppt/tags/tag96.xml" ContentType="application/vnd.openxmlformats-officedocument.presentationml.tags+xml"/>
  <Override PartName="/ppt/theme/themeOverride22.xml" ContentType="application/vnd.openxmlformats-officedocument.themeOverride+xml"/>
  <Override PartName="/ppt/tags/tag97.xml" ContentType="application/vnd.openxmlformats-officedocument.presentationml.tags+xml"/>
  <Override PartName="/ppt/theme/themeOverride23.xml" ContentType="application/vnd.openxmlformats-officedocument.themeOverride+xml"/>
  <Override PartName="/ppt/tags/tag98.xml" ContentType="application/vnd.openxmlformats-officedocument.presentationml.tags+xml"/>
  <Override PartName="/ppt/theme/themeOverride24.xml" ContentType="application/vnd.openxmlformats-officedocument.themeOverr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heme/themeOverride25.xml" ContentType="application/vnd.openxmlformats-officedocument.themeOverride+xml"/>
  <Override PartName="/ppt/tags/tag104.xml" ContentType="application/vnd.openxmlformats-officedocument.presentationml.tags+xml"/>
  <Override PartName="/ppt/theme/themeOverride26.xml" ContentType="application/vnd.openxmlformats-officedocument.themeOverride+xml"/>
  <Override PartName="/ppt/tags/tag10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4.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heme/themeOverride27.xml" ContentType="application/vnd.openxmlformats-officedocument.themeOverride+xml"/>
  <Override PartName="/ppt/tags/tag123.xml" ContentType="application/vnd.openxmlformats-officedocument.presentationml.tags+xml"/>
  <Override PartName="/ppt/tags/tag124.xml" ContentType="application/vnd.openxmlformats-officedocument.presentationml.tags+xml"/>
  <Override PartName="/ppt/theme/themeOverride28.xml" ContentType="application/vnd.openxmlformats-officedocument.themeOverride+xml"/>
  <Override PartName="/ppt/tags/tag125.xml" ContentType="application/vnd.openxmlformats-officedocument.presentationml.tags+xml"/>
  <Override PartName="/ppt/tags/tag126.xml" ContentType="application/vnd.openxmlformats-officedocument.presentationml.tags+xml"/>
  <Override PartName="/ppt/theme/themeOverride29.xml" ContentType="application/vnd.openxmlformats-officedocument.themeOverride+xml"/>
  <Override PartName="/ppt/tags/tag127.xml" ContentType="application/vnd.openxmlformats-officedocument.presentationml.tags+xml"/>
  <Override PartName="/ppt/tags/tag128.xml" ContentType="application/vnd.openxmlformats-officedocument.presentationml.tags+xml"/>
  <Override PartName="/ppt/theme/themeOverride30.xml" ContentType="application/vnd.openxmlformats-officedocument.themeOverride+xml"/>
  <Override PartName="/ppt/tags/tag129.xml" ContentType="application/vnd.openxmlformats-officedocument.presentationml.tags+xml"/>
  <Override PartName="/ppt/tags/tag130.xml" ContentType="application/vnd.openxmlformats-officedocument.presentationml.tags+xml"/>
  <Override PartName="/ppt/theme/themeOverride31.xml" ContentType="application/vnd.openxmlformats-officedocument.themeOverride+xml"/>
  <Override PartName="/ppt/tags/tag131.xml" ContentType="application/vnd.openxmlformats-officedocument.presentationml.tags+xml"/>
  <Override PartName="/ppt/tags/tag132.xml" ContentType="application/vnd.openxmlformats-officedocument.presentationml.tags+xml"/>
  <Override PartName="/ppt/theme/themeOverride32.xml" ContentType="application/vnd.openxmlformats-officedocument.themeOverride+xml"/>
  <Override PartName="/ppt/tags/tag133.xml" ContentType="application/vnd.openxmlformats-officedocument.presentationml.tags+xml"/>
  <Override PartName="/ppt/tags/tag134.xml" ContentType="application/vnd.openxmlformats-officedocument.presentationml.tags+xml"/>
  <Override PartName="/ppt/theme/themeOverride33.xml" ContentType="application/vnd.openxmlformats-officedocument.themeOverr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Override34.xml" ContentType="application/vnd.openxmlformats-officedocument.themeOverr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heme/themeOverride35.xml" ContentType="application/vnd.openxmlformats-officedocument.themeOverr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heme/themeOverride36.xml" ContentType="application/vnd.openxmlformats-officedocument.themeOverr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heme/themeOverride37.xml" ContentType="application/vnd.openxmlformats-officedocument.themeOverrid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heme/themeOverride38.xml" ContentType="application/vnd.openxmlformats-officedocument.themeOverride+xml"/>
  <Override PartName="/ppt/tags/tag158.xml" ContentType="application/vnd.openxmlformats-officedocument.presentationml.tags+xml"/>
  <Override PartName="/ppt/theme/themeOverride39.xml" ContentType="application/vnd.openxmlformats-officedocument.themeOverr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heme/themeOverride40.xml" ContentType="application/vnd.openxmlformats-officedocument.themeOverride+xml"/>
  <Override PartName="/ppt/tags/tag164.xml" ContentType="application/vnd.openxmlformats-officedocument.presentationml.tags+xml"/>
  <Override PartName="/ppt/tags/tag165.xml" ContentType="application/vnd.openxmlformats-officedocument.presentationml.tags+xml"/>
  <Override PartName="/ppt/theme/themeOverride41.xml" ContentType="application/vnd.openxmlformats-officedocument.themeOverride+xml"/>
  <Override PartName="/ppt/tags/tag166.xml" ContentType="application/vnd.openxmlformats-officedocument.presentationml.tags+xml"/>
  <Override PartName="/ppt/theme/themeOverride42.xml" ContentType="application/vnd.openxmlformats-officedocument.themeOverride+xml"/>
  <Override PartName="/ppt/tags/tag167.xml" ContentType="application/vnd.openxmlformats-officedocument.presentationml.tags+xml"/>
  <Override PartName="/ppt/theme/themeOverride43.xml" ContentType="application/vnd.openxmlformats-officedocument.themeOverride+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heme/themeOverride44.xml" ContentType="application/vnd.openxmlformats-officedocument.themeOverride+xml"/>
  <Override PartName="/ppt/tags/tag173.xml" ContentType="application/vnd.openxmlformats-officedocument.presentationml.tags+xml"/>
  <Override PartName="/ppt/theme/themeOverride45.xml" ContentType="application/vnd.openxmlformats-officedocument.themeOverride+xml"/>
  <Override PartName="/ppt/tags/tag174.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5.xml" ContentType="application/vnd.openxmlformats-officedocument.theme+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heme/themeOverride46.xml" ContentType="application/vnd.openxmlformats-officedocument.themeOverride+xml"/>
  <Override PartName="/ppt/tags/tag192.xml" ContentType="application/vnd.openxmlformats-officedocument.presentationml.tags+xml"/>
  <Override PartName="/ppt/tags/tag193.xml" ContentType="application/vnd.openxmlformats-officedocument.presentationml.tags+xml"/>
  <Override PartName="/ppt/theme/themeOverride47.xml" ContentType="application/vnd.openxmlformats-officedocument.themeOverride+xml"/>
  <Override PartName="/ppt/tags/tag194.xml" ContentType="application/vnd.openxmlformats-officedocument.presentationml.tags+xml"/>
  <Override PartName="/ppt/tags/tag195.xml" ContentType="application/vnd.openxmlformats-officedocument.presentationml.tags+xml"/>
  <Override PartName="/ppt/theme/themeOverride48.xml" ContentType="application/vnd.openxmlformats-officedocument.themeOverride+xml"/>
  <Override PartName="/ppt/tags/tag196.xml" ContentType="application/vnd.openxmlformats-officedocument.presentationml.tags+xml"/>
  <Override PartName="/ppt/tags/tag197.xml" ContentType="application/vnd.openxmlformats-officedocument.presentationml.tags+xml"/>
  <Override PartName="/ppt/theme/themeOverride49.xml" ContentType="application/vnd.openxmlformats-officedocument.themeOverride+xml"/>
  <Override PartName="/ppt/tags/tag198.xml" ContentType="application/vnd.openxmlformats-officedocument.presentationml.tags+xml"/>
  <Override PartName="/ppt/tags/tag199.xml" ContentType="application/vnd.openxmlformats-officedocument.presentationml.tags+xml"/>
  <Override PartName="/ppt/theme/themeOverride50.xml" ContentType="application/vnd.openxmlformats-officedocument.themeOverride+xml"/>
  <Override PartName="/ppt/tags/tag200.xml" ContentType="application/vnd.openxmlformats-officedocument.presentationml.tags+xml"/>
  <Override PartName="/ppt/tags/tag201.xml" ContentType="application/vnd.openxmlformats-officedocument.presentationml.tags+xml"/>
  <Override PartName="/ppt/theme/themeOverride51.xml" ContentType="application/vnd.openxmlformats-officedocument.themeOverride+xml"/>
  <Override PartName="/ppt/tags/tag202.xml" ContentType="application/vnd.openxmlformats-officedocument.presentationml.tags+xml"/>
  <Override PartName="/ppt/tags/tag203.xml" ContentType="application/vnd.openxmlformats-officedocument.presentationml.tags+xml"/>
  <Override PartName="/ppt/theme/themeOverride52.xml" ContentType="application/vnd.openxmlformats-officedocument.themeOverr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heme/themeOverride53.xml" ContentType="application/vnd.openxmlformats-officedocument.themeOverr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heme/themeOverride54.xml" ContentType="application/vnd.openxmlformats-officedocument.themeOverrid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heme/themeOverride55.xml" ContentType="application/vnd.openxmlformats-officedocument.themeOverrid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heme/themeOverride56.xml" ContentType="application/vnd.openxmlformats-officedocument.themeOverr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heme/themeOverride57.xml" ContentType="application/vnd.openxmlformats-officedocument.themeOverride+xml"/>
  <Override PartName="/ppt/tags/tag227.xml" ContentType="application/vnd.openxmlformats-officedocument.presentationml.tags+xml"/>
  <Override PartName="/ppt/theme/themeOverride58.xml" ContentType="application/vnd.openxmlformats-officedocument.themeOverrid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heme/themeOverride59.xml" ContentType="application/vnd.openxmlformats-officedocument.themeOverride+xml"/>
  <Override PartName="/ppt/tags/tag233.xml" ContentType="application/vnd.openxmlformats-officedocument.presentationml.tags+xml"/>
  <Override PartName="/ppt/tags/tag234.xml" ContentType="application/vnd.openxmlformats-officedocument.presentationml.tags+xml"/>
  <Override PartName="/ppt/theme/themeOverride60.xml" ContentType="application/vnd.openxmlformats-officedocument.themeOverride+xml"/>
  <Override PartName="/ppt/tags/tag235.xml" ContentType="application/vnd.openxmlformats-officedocument.presentationml.tags+xml"/>
  <Override PartName="/ppt/theme/themeOverride61.xml" ContentType="application/vnd.openxmlformats-officedocument.themeOverride+xml"/>
  <Override PartName="/ppt/tags/tag236.xml" ContentType="application/vnd.openxmlformats-officedocument.presentationml.tags+xml"/>
  <Override PartName="/ppt/theme/themeOverride62.xml" ContentType="application/vnd.openxmlformats-officedocument.themeOverrid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heme/themeOverride63.xml" ContentType="application/vnd.openxmlformats-officedocument.themeOverride+xml"/>
  <Override PartName="/ppt/tags/tag242.xml" ContentType="application/vnd.openxmlformats-officedocument.presentationml.tags+xml"/>
  <Override PartName="/ppt/theme/themeOverride64.xml" ContentType="application/vnd.openxmlformats-officedocument.themeOverride+xml"/>
  <Override PartName="/ppt/tags/tag243.xml" ContentType="application/vnd.openxmlformats-officedocument.presentationml.tags+xml"/>
  <Override PartName="/ppt/slideLayouts/slideLayout155.xml" ContentType="application/vnd.openxmlformats-officedocument.presentationml.slideLayout+xml"/>
  <Override PartName="/ppt/theme/theme6.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7.xml" ContentType="application/vnd.openxmlformats-officedocument.theme+xml"/>
  <Override PartName="/ppt/tags/tag244.xml" ContentType="application/vnd.openxmlformats-officedocument.presentationml.tags+xml"/>
  <Override PartName="/ppt/tags/tag245.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8.xml" ContentType="application/vnd.openxmlformats-officedocument.theme+xml"/>
  <Override PartName="/ppt/tags/tag246.xml" ContentType="application/vnd.openxmlformats-officedocument.presentationml.tags+xml"/>
  <Override PartName="/ppt/tags/tag247.xml" ContentType="application/vnd.openxmlformats-officedocument.presentationml.tags+xml"/>
  <Override PartName="/ppt/slideLayouts/slideLayout16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65.xml" ContentType="application/vnd.openxmlformats-officedocument.themeOverrid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5.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 id="2147483699" r:id="rId5"/>
    <p:sldMasterId id="2147483805" r:id="rId6"/>
    <p:sldMasterId id="2147483865" r:id="rId7"/>
    <p:sldMasterId id="2147484061" r:id="rId8"/>
    <p:sldMasterId id="2147484290" r:id="rId9"/>
    <p:sldMasterId id="2147484292" r:id="rId10"/>
    <p:sldMasterId id="2147484295" r:id="rId11"/>
    <p:sldMasterId id="2147484298" r:id="rId12"/>
  </p:sldMasterIdLst>
  <p:notesMasterIdLst>
    <p:notesMasterId r:id="rId36"/>
  </p:notesMasterIdLst>
  <p:handoutMasterIdLst>
    <p:handoutMasterId r:id="rId37"/>
  </p:handoutMasterIdLst>
  <p:sldIdLst>
    <p:sldId id="11433" r:id="rId13"/>
    <p:sldId id="11465" r:id="rId14"/>
    <p:sldId id="262" r:id="rId15"/>
    <p:sldId id="11440" r:id="rId16"/>
    <p:sldId id="11439" r:id="rId17"/>
    <p:sldId id="11350" r:id="rId18"/>
    <p:sldId id="11450" r:id="rId19"/>
    <p:sldId id="292" r:id="rId20"/>
    <p:sldId id="11453" r:id="rId21"/>
    <p:sldId id="11454" r:id="rId22"/>
    <p:sldId id="11455" r:id="rId23"/>
    <p:sldId id="11441" r:id="rId24"/>
    <p:sldId id="274" r:id="rId25"/>
    <p:sldId id="270" r:id="rId26"/>
    <p:sldId id="272" r:id="rId27"/>
    <p:sldId id="11457" r:id="rId28"/>
    <p:sldId id="289" r:id="rId29"/>
    <p:sldId id="11456" r:id="rId30"/>
    <p:sldId id="291" r:id="rId31"/>
    <p:sldId id="11458" r:id="rId32"/>
    <p:sldId id="11449" r:id="rId33"/>
    <p:sldId id="273" r:id="rId34"/>
    <p:sldId id="822" r:id="rId35"/>
  </p:sldIdLst>
  <p:sldSz cx="9144000" cy="514826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94"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LATTS,Natasha" initials="P" lastIdx="25" clrIdx="0">
    <p:extLst>
      <p:ext uri="{19B8F6BF-5375-455C-9EA6-DF929625EA0E}">
        <p15:presenceInfo xmlns:p15="http://schemas.microsoft.com/office/powerpoint/2012/main" userId="S::Natasha.Platts@dese.gov.au::ef836a6a-9485-4899-9539-b7e7b3d1e6c4" providerId="AD"/>
      </p:ext>
    </p:extLst>
  </p:cmAuthor>
  <p:cmAuthor id="2" name="DESE - JONES,Melinda" initials="D-J" lastIdx="14" clrIdx="1">
    <p:extLst>
      <p:ext uri="{19B8F6BF-5375-455C-9EA6-DF929625EA0E}">
        <p15:presenceInfo xmlns:p15="http://schemas.microsoft.com/office/powerpoint/2012/main" userId="S::Melinda.Jones@protected.dese.gov.au::03a3d66d-deba-469a-8200-58416fcb67c1" providerId="AD"/>
      </p:ext>
    </p:extLst>
  </p:cmAuthor>
  <p:cmAuthor id="3" name="DESE - SABARRE,Alexis" initials="D-S" lastIdx="1" clrIdx="2">
    <p:extLst>
      <p:ext uri="{19B8F6BF-5375-455C-9EA6-DF929625EA0E}">
        <p15:presenceInfo xmlns:p15="http://schemas.microsoft.com/office/powerpoint/2012/main" userId="S::Alexis.Sabarre@protected.dese.gov.au::e24aafe6-dbe6-4146-9265-7ac3e96573a3" providerId="AD"/>
      </p:ext>
    </p:extLst>
  </p:cmAuthor>
  <p:cmAuthor id="4" name="JONES,Melinda" initials="J" lastIdx="27" clrIdx="3">
    <p:extLst>
      <p:ext uri="{19B8F6BF-5375-455C-9EA6-DF929625EA0E}">
        <p15:presenceInfo xmlns:p15="http://schemas.microsoft.com/office/powerpoint/2012/main" userId="S::Melinda.Jones@dese.gov.au::e2f01b27-5310-422d-98ba-8054d90ad999" providerId="AD"/>
      </p:ext>
    </p:extLst>
  </p:cmAuthor>
  <p:cmAuthor id="5" name="SABARRE,Alexis" initials="S" lastIdx="5" clrIdx="4">
    <p:extLst>
      <p:ext uri="{19B8F6BF-5375-455C-9EA6-DF929625EA0E}">
        <p15:presenceInfo xmlns:p15="http://schemas.microsoft.com/office/powerpoint/2012/main" userId="S::Alexis.Sabarre@dese.gov.au::6102a782-fd6d-47af-a63f-c3da800fdc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6220"/>
    <a:srgbClr val="C9541E"/>
    <a:srgbClr val="287DB2"/>
    <a:srgbClr val="002D3F"/>
    <a:srgbClr val="E7E6E6"/>
    <a:srgbClr val="108E82"/>
    <a:srgbClr val="FFCF53"/>
    <a:srgbClr val="F0F0F0"/>
    <a:srgbClr val="57575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34557" autoAdjust="0"/>
    <p:restoredTop sz="86420" autoAdjust="0"/>
  </p:normalViewPr>
  <p:slideViewPr>
    <p:cSldViewPr snapToGrid="0">
      <p:cViewPr>
        <p:scale>
          <a:sx n="75" d="100"/>
          <a:sy n="75" d="100"/>
        </p:scale>
        <p:origin x="54" y="1302"/>
      </p:cViewPr>
      <p:guideLst>
        <p:guide orient="horz" pos="1894"/>
        <p:guide pos="2880"/>
      </p:guideLst>
    </p:cSldViewPr>
  </p:slideViewPr>
  <p:outlineViewPr>
    <p:cViewPr>
      <p:scale>
        <a:sx n="33" d="100"/>
        <a:sy n="33" d="100"/>
      </p:scale>
      <p:origin x="0" y="-384"/>
    </p:cViewPr>
  </p:outlineViewPr>
  <p:notesTextViewPr>
    <p:cViewPr>
      <p:scale>
        <a:sx n="1" d="1"/>
        <a:sy n="1" d="1"/>
      </p:scale>
      <p:origin x="0" y="0"/>
    </p:cViewPr>
  </p:notesTextViewPr>
  <p:sorterViewPr>
    <p:cViewPr>
      <p:scale>
        <a:sx n="100" d="100"/>
        <a:sy n="100" d="100"/>
      </p:scale>
      <p:origin x="0" y="-654"/>
    </p:cViewPr>
  </p:sorterViewPr>
  <p:notesViewPr>
    <p:cSldViewPr snapToGrid="0">
      <p:cViewPr>
        <p:scale>
          <a:sx n="80" d="100"/>
          <a:sy n="80" d="100"/>
        </p:scale>
        <p:origin x="4014"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presProps" Target="presProps.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65.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emp\special$\NESM%20Division\16.%20Digital%20Operations\Data%20analysis\External%20requests\CEO%20livestream\2021-05-20%20CEO%20livestream.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emp\special$\NESM%20Division\16.%20Digital%20Operations\Data%20analysis\External%20requests\CEO%20livestream\CEO%20livestream.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132066662497385E-2"/>
          <c:y val="4.8932063104099553E-2"/>
          <c:w val="0.87372279813417464"/>
          <c:h val="0.74041310224789836"/>
        </c:manualLayout>
      </c:layout>
      <c:lineChart>
        <c:grouping val="standard"/>
        <c:varyColors val="0"/>
        <c:ser>
          <c:idx val="0"/>
          <c:order val="0"/>
          <c:tx>
            <c:strRef>
              <c:f>'Trend caseload query'!$B$2</c:f>
              <c:strCache>
                <c:ptCount val="1"/>
                <c:pt idx="0">
                  <c:v>OES/OEST/VOEST caseload (excluding NEST)</c:v>
                </c:pt>
              </c:strCache>
            </c:strRef>
          </c:tx>
          <c:spPr>
            <a:ln w="31750" cap="rnd">
              <a:solidFill>
                <a:srgbClr val="F26223"/>
              </a:solidFill>
              <a:round/>
            </a:ln>
            <a:effectLst/>
          </c:spPr>
          <c:marker>
            <c:symbol val="none"/>
          </c:marker>
          <c:cat>
            <c:numRef>
              <c:f>'Trend caseload query'!$A$3:$A$17</c:f>
              <c:numCache>
                <c:formatCode>m/d/yyyy</c:formatCode>
                <c:ptCount val="15"/>
                <c:pt idx="0">
                  <c:v>43890</c:v>
                </c:pt>
                <c:pt idx="1">
                  <c:v>43921</c:v>
                </c:pt>
                <c:pt idx="2">
                  <c:v>43951</c:v>
                </c:pt>
                <c:pt idx="3">
                  <c:v>43982</c:v>
                </c:pt>
                <c:pt idx="4">
                  <c:v>44012</c:v>
                </c:pt>
                <c:pt idx="5">
                  <c:v>44043</c:v>
                </c:pt>
                <c:pt idx="6">
                  <c:v>44074</c:v>
                </c:pt>
                <c:pt idx="7">
                  <c:v>44104</c:v>
                </c:pt>
                <c:pt idx="8">
                  <c:v>44135</c:v>
                </c:pt>
                <c:pt idx="9">
                  <c:v>44165</c:v>
                </c:pt>
                <c:pt idx="10">
                  <c:v>44196</c:v>
                </c:pt>
                <c:pt idx="11">
                  <c:v>44227</c:v>
                </c:pt>
                <c:pt idx="12">
                  <c:v>44255</c:v>
                </c:pt>
                <c:pt idx="13">
                  <c:v>44286</c:v>
                </c:pt>
                <c:pt idx="14">
                  <c:v>44316</c:v>
                </c:pt>
              </c:numCache>
            </c:numRef>
          </c:cat>
          <c:val>
            <c:numRef>
              <c:f>'Trend caseload query'!$B$3:$B$17</c:f>
              <c:numCache>
                <c:formatCode>#,##0</c:formatCode>
                <c:ptCount val="15"/>
                <c:pt idx="0">
                  <c:v>7255</c:v>
                </c:pt>
                <c:pt idx="1">
                  <c:v>104557</c:v>
                </c:pt>
                <c:pt idx="2">
                  <c:v>440214</c:v>
                </c:pt>
                <c:pt idx="3">
                  <c:v>551248</c:v>
                </c:pt>
                <c:pt idx="4">
                  <c:v>449361</c:v>
                </c:pt>
                <c:pt idx="5">
                  <c:v>395506</c:v>
                </c:pt>
                <c:pt idx="6">
                  <c:v>404438</c:v>
                </c:pt>
                <c:pt idx="7">
                  <c:v>444154</c:v>
                </c:pt>
                <c:pt idx="8">
                  <c:v>416104</c:v>
                </c:pt>
                <c:pt idx="9">
                  <c:v>380004</c:v>
                </c:pt>
                <c:pt idx="10">
                  <c:v>354454</c:v>
                </c:pt>
                <c:pt idx="11">
                  <c:v>344287</c:v>
                </c:pt>
                <c:pt idx="12">
                  <c:v>325941</c:v>
                </c:pt>
                <c:pt idx="13">
                  <c:v>283627</c:v>
                </c:pt>
                <c:pt idx="14">
                  <c:v>246102</c:v>
                </c:pt>
              </c:numCache>
            </c:numRef>
          </c:val>
          <c:smooth val="0"/>
          <c:extLst>
            <c:ext xmlns:c16="http://schemas.microsoft.com/office/drawing/2014/chart" uri="{C3380CC4-5D6E-409C-BE32-E72D297353CC}">
              <c16:uniqueId val="{00000000-4334-44EA-A568-22C59261191D}"/>
            </c:ext>
          </c:extLst>
        </c:ser>
        <c:dLbls>
          <c:showLegendKey val="0"/>
          <c:showVal val="0"/>
          <c:showCatName val="0"/>
          <c:showSerName val="0"/>
          <c:showPercent val="0"/>
          <c:showBubbleSize val="0"/>
        </c:dLbls>
        <c:smooth val="0"/>
        <c:axId val="1211446863"/>
        <c:axId val="1265343935"/>
      </c:lineChart>
      <c:dateAx>
        <c:axId val="1211446863"/>
        <c:scaling>
          <c:orientation val="minMax"/>
          <c:max val="44316"/>
          <c:min val="43890"/>
        </c:scaling>
        <c:delete val="0"/>
        <c:axPos val="b"/>
        <c:numFmt formatCode="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002D3F"/>
                </a:solidFill>
                <a:latin typeface="Arial Nova Cond" panose="020B0506020202020204" pitchFamily="34" charset="0"/>
                <a:ea typeface="+mn-ea"/>
                <a:cs typeface="+mn-cs"/>
              </a:defRPr>
            </a:pPr>
            <a:endParaRPr lang="en-US"/>
          </a:p>
        </c:txPr>
        <c:crossAx val="1265343935"/>
        <c:crosses val="autoZero"/>
        <c:auto val="1"/>
        <c:lblOffset val="100"/>
        <c:baseTimeUnit val="months"/>
      </c:dateAx>
      <c:valAx>
        <c:axId val="1265343935"/>
        <c:scaling>
          <c:orientation val="minMax"/>
        </c:scaling>
        <c:delete val="0"/>
        <c:axPos val="l"/>
        <c:majorGridlines>
          <c:spPr>
            <a:ln w="9525" cap="flat" cmpd="sng" algn="ctr">
              <a:solidFill>
                <a:schemeClr val="bg1">
                  <a:lumMod val="75000"/>
                  <a:alpha val="30196"/>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Nova Cond" panose="020B0506020202020204" pitchFamily="34" charset="0"/>
                <a:ea typeface="+mn-ea"/>
                <a:cs typeface="+mn-cs"/>
              </a:defRPr>
            </a:pPr>
            <a:endParaRPr lang="en-US"/>
          </a:p>
        </c:txPr>
        <c:crossAx val="1211446863"/>
        <c:crosses val="autoZero"/>
        <c:crossBetween val="midCat"/>
        <c:majorUnit val="200000"/>
      </c:valAx>
      <c:spPr>
        <a:noFill/>
        <a:ln>
          <a:noFill/>
        </a:ln>
        <a:effectLst/>
      </c:spPr>
    </c:plotArea>
    <c:plotVisOnly val="1"/>
    <c:dispBlanksAs val="gap"/>
    <c:showDLblsOverMax val="0"/>
    <c:extLst/>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Exits!$E$14</c:f>
              <c:strCache>
                <c:ptCount val="1"/>
                <c:pt idx="0">
                  <c:v>Employment</c:v>
                </c:pt>
              </c:strCache>
            </c:strRef>
          </c:tx>
          <c:spPr>
            <a:solidFill>
              <a:srgbClr val="257FB4"/>
            </a:solidFill>
            <a:ln>
              <a:noFill/>
            </a:ln>
            <a:effectLst/>
          </c:spPr>
          <c:invertIfNegative val="0"/>
          <c:dPt>
            <c:idx val="0"/>
            <c:invertIfNegative val="0"/>
            <c:bubble3D val="0"/>
            <c:spPr>
              <a:solidFill>
                <a:srgbClr val="257FB4"/>
              </a:solidFill>
              <a:ln>
                <a:noFill/>
              </a:ln>
              <a:effectLst/>
            </c:spPr>
            <c:extLst>
              <c:ext xmlns:c16="http://schemas.microsoft.com/office/drawing/2014/chart" uri="{C3380CC4-5D6E-409C-BE32-E72D297353CC}">
                <c16:uniqueId val="{00000001-61E8-4E88-897B-7748F92E285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its!$F$13</c:f>
              <c:strCache>
                <c:ptCount val="1"/>
                <c:pt idx="0">
                  <c:v>Exits </c:v>
                </c:pt>
              </c:strCache>
            </c:strRef>
          </c:cat>
          <c:val>
            <c:numRef>
              <c:f>Exits!$F$14</c:f>
              <c:numCache>
                <c:formatCode>0%</c:formatCode>
                <c:ptCount val="1"/>
                <c:pt idx="0">
                  <c:v>0.70685834105126955</c:v>
                </c:pt>
              </c:numCache>
            </c:numRef>
          </c:val>
          <c:extLst>
            <c:ext xmlns:c16="http://schemas.microsoft.com/office/drawing/2014/chart" uri="{C3380CC4-5D6E-409C-BE32-E72D297353CC}">
              <c16:uniqueId val="{00000002-61E8-4E88-897B-7748F92E285A}"/>
            </c:ext>
          </c:extLst>
        </c:ser>
        <c:ser>
          <c:idx val="1"/>
          <c:order val="1"/>
          <c:tx>
            <c:strRef>
              <c:f>Exits!$E$15</c:f>
              <c:strCache>
                <c:ptCount val="1"/>
                <c:pt idx="0">
                  <c:v>Other Employment Service</c:v>
                </c:pt>
              </c:strCache>
            </c:strRef>
          </c:tx>
          <c:spPr>
            <a:solidFill>
              <a:srgbClr val="257FB4">
                <a:alpha val="40000"/>
              </a:srgbClr>
            </a:solidFill>
            <a:ln>
              <a:noFill/>
            </a:ln>
            <a:effectLst/>
          </c:spPr>
          <c:invertIfNegative val="0"/>
          <c:dPt>
            <c:idx val="0"/>
            <c:invertIfNegative val="0"/>
            <c:bubble3D val="0"/>
            <c:spPr>
              <a:solidFill>
                <a:srgbClr val="257FB4">
                  <a:alpha val="40000"/>
                </a:srgbClr>
              </a:solidFill>
              <a:ln>
                <a:noFill/>
              </a:ln>
              <a:effectLst/>
            </c:spPr>
            <c:extLst>
              <c:ext xmlns:c16="http://schemas.microsoft.com/office/drawing/2014/chart" uri="{C3380CC4-5D6E-409C-BE32-E72D297353CC}">
                <c16:uniqueId val="{00000004-61E8-4E88-897B-7748F92E285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its!$F$13</c:f>
              <c:strCache>
                <c:ptCount val="1"/>
                <c:pt idx="0">
                  <c:v>Exits </c:v>
                </c:pt>
              </c:strCache>
            </c:strRef>
          </c:cat>
          <c:val>
            <c:numRef>
              <c:f>Exits!$F$15</c:f>
              <c:numCache>
                <c:formatCode>0%</c:formatCode>
                <c:ptCount val="1"/>
                <c:pt idx="0">
                  <c:v>9.1413739787774409E-2</c:v>
                </c:pt>
              </c:numCache>
            </c:numRef>
          </c:val>
          <c:extLst>
            <c:ext xmlns:c16="http://schemas.microsoft.com/office/drawing/2014/chart" uri="{C3380CC4-5D6E-409C-BE32-E72D297353CC}">
              <c16:uniqueId val="{00000005-61E8-4E88-897B-7748F92E285A}"/>
            </c:ext>
          </c:extLst>
        </c:ser>
        <c:ser>
          <c:idx val="2"/>
          <c:order val="2"/>
          <c:tx>
            <c:strRef>
              <c:f>Exits!$E$16</c:f>
              <c:strCache>
                <c:ptCount val="1"/>
                <c:pt idx="0">
                  <c:v>No Longer Eligible</c:v>
                </c:pt>
              </c:strCache>
            </c:strRef>
          </c:tx>
          <c:spPr>
            <a:pattFill prst="ltUpDiag">
              <a:fgClr>
                <a:schemeClr val="bg1">
                  <a:lumMod val="85000"/>
                </a:schemeClr>
              </a:fgClr>
              <a:bgClr>
                <a:schemeClr val="bg1"/>
              </a:bgClr>
            </a:pattFill>
            <a:ln>
              <a:noFill/>
            </a:ln>
            <a:effectLst/>
          </c:spPr>
          <c:invertIfNegative val="0"/>
          <c:dLbls>
            <c:dLbl>
              <c:idx val="0"/>
              <c:tx>
                <c:rich>
                  <a:bodyPr/>
                  <a:lstStyle/>
                  <a:p>
                    <a:fld id="{516EFAAE-2C21-488F-85A3-72CC15D9641D}" type="VALUE">
                      <a:rPr lang="en-US">
                        <a:solidFill>
                          <a:schemeClr val="tx1"/>
                        </a:solidFill>
                      </a:rPr>
                      <a:pPr/>
                      <a:t>[VALUE]</a:t>
                    </a:fld>
                    <a:endParaRPr lang="en-AU"/>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A3FA-4410-830C-14DDBB94ED99}"/>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its!$F$13</c:f>
              <c:strCache>
                <c:ptCount val="1"/>
                <c:pt idx="0">
                  <c:v>Exits </c:v>
                </c:pt>
              </c:strCache>
            </c:strRef>
          </c:cat>
          <c:val>
            <c:numRef>
              <c:f>Exits!$F$16</c:f>
              <c:numCache>
                <c:formatCode>0%</c:formatCode>
                <c:ptCount val="1"/>
                <c:pt idx="0">
                  <c:v>0.16019354851132081</c:v>
                </c:pt>
              </c:numCache>
            </c:numRef>
          </c:val>
          <c:extLst>
            <c:ext xmlns:c16="http://schemas.microsoft.com/office/drawing/2014/chart" uri="{C3380CC4-5D6E-409C-BE32-E72D297353CC}">
              <c16:uniqueId val="{00000006-61E8-4E88-897B-7748F92E285A}"/>
            </c:ext>
          </c:extLst>
        </c:ser>
        <c:ser>
          <c:idx val="3"/>
          <c:order val="3"/>
          <c:tx>
            <c:strRef>
              <c:f>Exits!$E$17</c:f>
              <c:strCache>
                <c:ptCount val="1"/>
                <c:pt idx="0">
                  <c:v>Study</c:v>
                </c:pt>
              </c:strCache>
            </c:strRef>
          </c:tx>
          <c:spPr>
            <a:solidFill>
              <a:srgbClr val="F2611F"/>
            </a:solidFill>
            <a:ln>
              <a:noFill/>
            </a:ln>
            <a:effectLst/>
          </c:spPr>
          <c:invertIfNegative val="0"/>
          <c:dLbls>
            <c:dLbl>
              <c:idx val="0"/>
              <c:layout>
                <c:manualLayout>
                  <c:x val="-1.2804444914383208E-2"/>
                  <c:y val="-0.277638678539912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1E8-4E88-897B-7748F92E285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strRef>
              <c:f>Exits!$F$13</c:f>
              <c:strCache>
                <c:ptCount val="1"/>
                <c:pt idx="0">
                  <c:v>Exits </c:v>
                </c:pt>
              </c:strCache>
            </c:strRef>
          </c:cat>
          <c:val>
            <c:numRef>
              <c:f>Exits!$F$17</c:f>
              <c:numCache>
                <c:formatCode>0%</c:formatCode>
                <c:ptCount val="1"/>
                <c:pt idx="0">
                  <c:v>2.4755801930478886E-2</c:v>
                </c:pt>
              </c:numCache>
            </c:numRef>
          </c:val>
          <c:extLst>
            <c:ext xmlns:c16="http://schemas.microsoft.com/office/drawing/2014/chart" uri="{C3380CC4-5D6E-409C-BE32-E72D297353CC}">
              <c16:uniqueId val="{00000008-61E8-4E88-897B-7748F92E285A}"/>
            </c:ext>
          </c:extLst>
        </c:ser>
        <c:ser>
          <c:idx val="4"/>
          <c:order val="4"/>
          <c:tx>
            <c:strRef>
              <c:f>Exits!$E$18</c:f>
              <c:strCache>
                <c:ptCount val="1"/>
                <c:pt idx="0">
                  <c:v>Other</c:v>
                </c:pt>
              </c:strCache>
            </c:strRef>
          </c:tx>
          <c:spPr>
            <a:solidFill>
              <a:srgbClr val="E9A913"/>
            </a:solidFill>
            <a:ln>
              <a:noFill/>
            </a:ln>
            <a:effectLst/>
          </c:spPr>
          <c:invertIfNegative val="0"/>
          <c:dLbls>
            <c:dLbl>
              <c:idx val="0"/>
              <c:layout>
                <c:manualLayout>
                  <c:x val="5.6591000190376953E-3"/>
                  <c:y val="-0.27415738867066869"/>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1E8-4E88-897B-7748F92E285A}"/>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solidFill>
                      <a:round/>
                    </a:ln>
                    <a:effectLst/>
                  </c:spPr>
                </c15:leaderLines>
              </c:ext>
            </c:extLst>
          </c:dLbls>
          <c:cat>
            <c:strRef>
              <c:f>Exits!$F$13</c:f>
              <c:strCache>
                <c:ptCount val="1"/>
                <c:pt idx="0">
                  <c:v>Exits </c:v>
                </c:pt>
              </c:strCache>
            </c:strRef>
          </c:cat>
          <c:val>
            <c:numRef>
              <c:f>Exits!$F$18</c:f>
              <c:numCache>
                <c:formatCode>0%</c:formatCode>
                <c:ptCount val="1"/>
                <c:pt idx="0">
                  <c:v>1.6778568719156336E-2</c:v>
                </c:pt>
              </c:numCache>
            </c:numRef>
          </c:val>
          <c:extLst>
            <c:ext xmlns:c16="http://schemas.microsoft.com/office/drawing/2014/chart" uri="{C3380CC4-5D6E-409C-BE32-E72D297353CC}">
              <c16:uniqueId val="{0000000A-61E8-4E88-897B-7748F92E285A}"/>
            </c:ext>
          </c:extLst>
        </c:ser>
        <c:dLbls>
          <c:showLegendKey val="0"/>
          <c:showVal val="0"/>
          <c:showCatName val="0"/>
          <c:showSerName val="0"/>
          <c:showPercent val="0"/>
          <c:showBubbleSize val="0"/>
        </c:dLbls>
        <c:gapWidth val="78"/>
        <c:overlap val="100"/>
        <c:axId val="988597055"/>
        <c:axId val="80177519"/>
      </c:barChart>
      <c:catAx>
        <c:axId val="988597055"/>
        <c:scaling>
          <c:orientation val="minMax"/>
        </c:scaling>
        <c:delete val="1"/>
        <c:axPos val="l"/>
        <c:title>
          <c:tx>
            <c:rich>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r>
                  <a:rPr lang="en-AU" sz="1200" b="1" dirty="0">
                    <a:solidFill>
                      <a:schemeClr val="tx1"/>
                    </a:solidFill>
                    <a:latin typeface="Arial Nova Cond" panose="020B0506020202020204" pitchFamily="34" charset="0"/>
                  </a:rPr>
                  <a:t>Online </a:t>
                </a:r>
                <a:br>
                  <a:rPr lang="en-AU" sz="1200" b="1" dirty="0">
                    <a:solidFill>
                      <a:schemeClr val="tx1"/>
                    </a:solidFill>
                    <a:latin typeface="Arial Nova Cond" panose="020B0506020202020204" pitchFamily="34" charset="0"/>
                  </a:rPr>
                </a:br>
                <a:r>
                  <a:rPr lang="en-AU" sz="1200" b="1" dirty="0">
                    <a:solidFill>
                      <a:schemeClr val="tx1"/>
                    </a:solidFill>
                    <a:latin typeface="Arial Nova Cond" panose="020B0506020202020204" pitchFamily="34" charset="0"/>
                  </a:rPr>
                  <a:t>services</a:t>
                </a:r>
              </a:p>
            </c:rich>
          </c:tx>
          <c:layout>
            <c:manualLayout>
              <c:xMode val="edge"/>
              <c:yMode val="edge"/>
              <c:x val="0"/>
              <c:y val="0.49357869595371778"/>
            </c:manualLayout>
          </c:layout>
          <c:overlay val="0"/>
          <c:spPr>
            <a:noFill/>
            <a:ln>
              <a:noFill/>
            </a:ln>
            <a:effectLst/>
          </c:spPr>
          <c:txPr>
            <a:bodyPr rot="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80177519"/>
        <c:crosses val="autoZero"/>
        <c:auto val="1"/>
        <c:lblAlgn val="ctr"/>
        <c:lblOffset val="100"/>
        <c:noMultiLvlLbl val="0"/>
      </c:catAx>
      <c:valAx>
        <c:axId val="80177519"/>
        <c:scaling>
          <c:orientation val="minMax"/>
          <c:max val="1"/>
        </c:scaling>
        <c:delete val="1"/>
        <c:axPos val="b"/>
        <c:numFmt formatCode="0%" sourceLinked="1"/>
        <c:majorTickMark val="none"/>
        <c:minorTickMark val="none"/>
        <c:tickLblPos val="nextTo"/>
        <c:crossAx val="988597055"/>
        <c:crosses val="autoZero"/>
        <c:crossBetween val="between"/>
      </c:valAx>
      <c:spPr>
        <a:noFill/>
        <a:ln>
          <a:noFill/>
        </a:ln>
        <a:effectLst/>
      </c:spPr>
    </c:plotArea>
    <c:legend>
      <c:legendPos val="t"/>
      <c:layout>
        <c:manualLayout>
          <c:xMode val="edge"/>
          <c:yMode val="edge"/>
          <c:x val="8.4395748172773996E-2"/>
          <c:y val="0.13936664711855656"/>
          <c:w val="0.85447556993038187"/>
          <c:h val="0.111356626872871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Nova Cond" panose="020B0506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3!$B$2</c:f>
              <c:strCache>
                <c:ptCount val="1"/>
                <c:pt idx="0">
                  <c:v>Digital Services</c:v>
                </c:pt>
              </c:strCache>
            </c:strRef>
          </c:tx>
          <c:spPr>
            <a:ln w="19050" cap="rnd">
              <a:solidFill>
                <a:srgbClr val="257FB4"/>
              </a:solidFill>
              <a:prstDash val="dash"/>
              <a:round/>
            </a:ln>
            <a:effectLst/>
          </c:spPr>
          <c:marker>
            <c:symbol val="none"/>
          </c:marker>
          <c:cat>
            <c:numRef>
              <c:f>Sheet3!$A$3:$A$17</c:f>
              <c:numCache>
                <c:formatCode>d\-mmm</c:formatCode>
                <c:ptCount val="15"/>
                <c:pt idx="0">
                  <c:v>43890</c:v>
                </c:pt>
                <c:pt idx="1">
                  <c:v>43921</c:v>
                </c:pt>
                <c:pt idx="2">
                  <c:v>43951</c:v>
                </c:pt>
                <c:pt idx="3">
                  <c:v>43982</c:v>
                </c:pt>
                <c:pt idx="4">
                  <c:v>44012</c:v>
                </c:pt>
                <c:pt idx="5">
                  <c:v>44043</c:v>
                </c:pt>
                <c:pt idx="6">
                  <c:v>44074</c:v>
                </c:pt>
                <c:pt idx="7">
                  <c:v>44104</c:v>
                </c:pt>
                <c:pt idx="8">
                  <c:v>44135</c:v>
                </c:pt>
                <c:pt idx="9">
                  <c:v>44165</c:v>
                </c:pt>
                <c:pt idx="10">
                  <c:v>44196</c:v>
                </c:pt>
                <c:pt idx="11">
                  <c:v>44227</c:v>
                </c:pt>
                <c:pt idx="12">
                  <c:v>44255</c:v>
                </c:pt>
                <c:pt idx="13">
                  <c:v>44286</c:v>
                </c:pt>
                <c:pt idx="14">
                  <c:v>44316</c:v>
                </c:pt>
              </c:numCache>
            </c:numRef>
          </c:cat>
          <c:val>
            <c:numRef>
              <c:f>Sheet3!$B$3:$B$17</c:f>
              <c:numCache>
                <c:formatCode>_-* #,##0_-;\-* #,##0_-;_-* "-"??_-;_-@_-</c:formatCode>
                <c:ptCount val="15"/>
                <c:pt idx="0">
                  <c:v>5847</c:v>
                </c:pt>
                <c:pt idx="1">
                  <c:v>11200</c:v>
                </c:pt>
                <c:pt idx="2">
                  <c:v>28601</c:v>
                </c:pt>
                <c:pt idx="3">
                  <c:v>35956</c:v>
                </c:pt>
                <c:pt idx="4">
                  <c:v>34703</c:v>
                </c:pt>
                <c:pt idx="5">
                  <c:v>33856</c:v>
                </c:pt>
                <c:pt idx="6">
                  <c:v>32802</c:v>
                </c:pt>
                <c:pt idx="7">
                  <c:v>33107</c:v>
                </c:pt>
                <c:pt idx="8">
                  <c:v>28556</c:v>
                </c:pt>
                <c:pt idx="9">
                  <c:v>26373</c:v>
                </c:pt>
                <c:pt idx="10">
                  <c:v>25118</c:v>
                </c:pt>
                <c:pt idx="11">
                  <c:v>24272</c:v>
                </c:pt>
                <c:pt idx="12">
                  <c:v>23414</c:v>
                </c:pt>
                <c:pt idx="13">
                  <c:v>22212</c:v>
                </c:pt>
                <c:pt idx="14" formatCode="#,##0">
                  <c:v>20839</c:v>
                </c:pt>
              </c:numCache>
            </c:numRef>
          </c:val>
          <c:smooth val="0"/>
          <c:extLst>
            <c:ext xmlns:c16="http://schemas.microsoft.com/office/drawing/2014/chart" uri="{C3380CC4-5D6E-409C-BE32-E72D297353CC}">
              <c16:uniqueId val="{00000000-6CDD-4290-994F-01E1A9CE31B5}"/>
            </c:ext>
          </c:extLst>
        </c:ser>
        <c:ser>
          <c:idx val="1"/>
          <c:order val="1"/>
          <c:tx>
            <c:strRef>
              <c:f>Sheet3!$C$2</c:f>
              <c:strCache>
                <c:ptCount val="1"/>
                <c:pt idx="0">
                  <c:v>Enhanced Services</c:v>
                </c:pt>
              </c:strCache>
            </c:strRef>
          </c:tx>
          <c:spPr>
            <a:ln w="19050" cap="rnd">
              <a:solidFill>
                <a:srgbClr val="B6016A"/>
              </a:solidFill>
              <a:round/>
            </a:ln>
            <a:effectLst/>
          </c:spPr>
          <c:marker>
            <c:symbol val="none"/>
          </c:marker>
          <c:cat>
            <c:numRef>
              <c:f>Sheet3!$A$3:$A$17</c:f>
              <c:numCache>
                <c:formatCode>d\-mmm</c:formatCode>
                <c:ptCount val="15"/>
                <c:pt idx="0">
                  <c:v>43890</c:v>
                </c:pt>
                <c:pt idx="1">
                  <c:v>43921</c:v>
                </c:pt>
                <c:pt idx="2">
                  <c:v>43951</c:v>
                </c:pt>
                <c:pt idx="3">
                  <c:v>43982</c:v>
                </c:pt>
                <c:pt idx="4">
                  <c:v>44012</c:v>
                </c:pt>
                <c:pt idx="5">
                  <c:v>44043</c:v>
                </c:pt>
                <c:pt idx="6">
                  <c:v>44074</c:v>
                </c:pt>
                <c:pt idx="7">
                  <c:v>44104</c:v>
                </c:pt>
                <c:pt idx="8">
                  <c:v>44135</c:v>
                </c:pt>
                <c:pt idx="9">
                  <c:v>44165</c:v>
                </c:pt>
                <c:pt idx="10">
                  <c:v>44196</c:v>
                </c:pt>
                <c:pt idx="11">
                  <c:v>44227</c:v>
                </c:pt>
                <c:pt idx="12">
                  <c:v>44255</c:v>
                </c:pt>
                <c:pt idx="13">
                  <c:v>44286</c:v>
                </c:pt>
                <c:pt idx="14">
                  <c:v>44316</c:v>
                </c:pt>
              </c:numCache>
            </c:numRef>
          </c:cat>
          <c:val>
            <c:numRef>
              <c:f>Sheet3!$C$3:$C$17</c:f>
              <c:numCache>
                <c:formatCode>_-* #,##0_-;\-* #,##0_-;_-* "-"??_-;_-@_-</c:formatCode>
                <c:ptCount val="15"/>
                <c:pt idx="0">
                  <c:v>23032</c:v>
                </c:pt>
                <c:pt idx="1">
                  <c:v>23339</c:v>
                </c:pt>
                <c:pt idx="2">
                  <c:v>24374</c:v>
                </c:pt>
                <c:pt idx="3">
                  <c:v>26661</c:v>
                </c:pt>
                <c:pt idx="4">
                  <c:v>27162</c:v>
                </c:pt>
                <c:pt idx="5">
                  <c:v>28117</c:v>
                </c:pt>
                <c:pt idx="6">
                  <c:v>28740</c:v>
                </c:pt>
                <c:pt idx="7">
                  <c:v>29918</c:v>
                </c:pt>
                <c:pt idx="8">
                  <c:v>32240</c:v>
                </c:pt>
                <c:pt idx="9">
                  <c:v>31628</c:v>
                </c:pt>
                <c:pt idx="10">
                  <c:v>31037</c:v>
                </c:pt>
                <c:pt idx="11">
                  <c:v>30640</c:v>
                </c:pt>
                <c:pt idx="12">
                  <c:v>30088</c:v>
                </c:pt>
                <c:pt idx="13">
                  <c:v>29344</c:v>
                </c:pt>
                <c:pt idx="14" formatCode="#,##0">
                  <c:v>27980</c:v>
                </c:pt>
              </c:numCache>
            </c:numRef>
          </c:val>
          <c:smooth val="0"/>
          <c:extLst>
            <c:ext xmlns:c16="http://schemas.microsoft.com/office/drawing/2014/chart" uri="{C3380CC4-5D6E-409C-BE32-E72D297353CC}">
              <c16:uniqueId val="{00000001-6CDD-4290-994F-01E1A9CE31B5}"/>
            </c:ext>
          </c:extLst>
        </c:ser>
        <c:dLbls>
          <c:showLegendKey val="0"/>
          <c:showVal val="0"/>
          <c:showCatName val="0"/>
          <c:showSerName val="0"/>
          <c:showPercent val="0"/>
          <c:showBubbleSize val="0"/>
        </c:dLbls>
        <c:smooth val="0"/>
        <c:axId val="1184009679"/>
        <c:axId val="1120426671"/>
      </c:lineChart>
      <c:dateAx>
        <c:axId val="1184009679"/>
        <c:scaling>
          <c:orientation val="minMax"/>
        </c:scaling>
        <c:delete val="0"/>
        <c:axPos val="b"/>
        <c:numFmt formatCode="[$-C09]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Nova Cond" panose="020B0506020202020204" pitchFamily="34" charset="0"/>
                <a:ea typeface="+mn-ea"/>
                <a:cs typeface="+mn-cs"/>
              </a:defRPr>
            </a:pPr>
            <a:endParaRPr lang="en-US"/>
          </a:p>
        </c:txPr>
        <c:crossAx val="1120426671"/>
        <c:crosses val="autoZero"/>
        <c:auto val="1"/>
        <c:lblOffset val="100"/>
        <c:baseTimeUnit val="months"/>
      </c:dateAx>
      <c:valAx>
        <c:axId val="1120426671"/>
        <c:scaling>
          <c:orientation val="minMax"/>
        </c:scaling>
        <c:delete val="0"/>
        <c:axPos val="l"/>
        <c:majorGridlines>
          <c:spPr>
            <a:ln w="9525" cap="flat" cmpd="sng" algn="ctr">
              <a:solidFill>
                <a:schemeClr val="bg1">
                  <a:lumMod val="9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Nova Cond" panose="020B0506020202020204" pitchFamily="34" charset="0"/>
                <a:ea typeface="+mn-ea"/>
                <a:cs typeface="+mn-cs"/>
              </a:defRPr>
            </a:pPr>
            <a:endParaRPr lang="en-US"/>
          </a:p>
        </c:txPr>
        <c:crossAx val="1184009679"/>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K$8</c:f>
              <c:strCache>
                <c:ptCount val="1"/>
                <c:pt idx="0">
                  <c:v>Employment</c:v>
                </c:pt>
              </c:strCache>
            </c:strRef>
          </c:tx>
          <c:spPr>
            <a:solidFill>
              <a:srgbClr val="257FB4"/>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bg1"/>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J$9:$J$11</c:f>
              <c:strCache>
                <c:ptCount val="2"/>
                <c:pt idx="0">
                  <c:v>Enhanced Services</c:v>
                </c:pt>
                <c:pt idx="1">
                  <c:v>Digital Services</c:v>
                </c:pt>
              </c:strCache>
              <c:extLst/>
            </c:strRef>
          </c:cat>
          <c:val>
            <c:numRef>
              <c:f>Sheet1!$K$9:$K$11</c:f>
              <c:numCache>
                <c:formatCode>0%</c:formatCode>
                <c:ptCount val="2"/>
                <c:pt idx="0">
                  <c:v>0.41020065236730258</c:v>
                </c:pt>
                <c:pt idx="1">
                  <c:v>0.78703019191530887</c:v>
                </c:pt>
              </c:numCache>
              <c:extLst/>
            </c:numRef>
          </c:val>
          <c:extLst>
            <c:ext xmlns:c16="http://schemas.microsoft.com/office/drawing/2014/chart" uri="{C3380CC4-5D6E-409C-BE32-E72D297353CC}">
              <c16:uniqueId val="{00000000-36DC-4669-90B8-5CC790E08BD0}"/>
            </c:ext>
          </c:extLst>
        </c:ser>
        <c:ser>
          <c:idx val="1"/>
          <c:order val="1"/>
          <c:tx>
            <c:strRef>
              <c:f>Sheet1!$L$8</c:f>
              <c:strCache>
                <c:ptCount val="1"/>
                <c:pt idx="0">
                  <c:v>Other Employment Service</c:v>
                </c:pt>
              </c:strCache>
            </c:strRef>
          </c:tx>
          <c:spPr>
            <a:solidFill>
              <a:srgbClr val="99BDD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J$9:$J$11</c:f>
              <c:strCache>
                <c:ptCount val="2"/>
                <c:pt idx="0">
                  <c:v>Enhanced Services</c:v>
                </c:pt>
                <c:pt idx="1">
                  <c:v>Digital Services</c:v>
                </c:pt>
              </c:strCache>
              <c:extLst/>
            </c:strRef>
          </c:cat>
          <c:val>
            <c:numRef>
              <c:f>Sheet1!$L$9:$L$11</c:f>
              <c:numCache>
                <c:formatCode>0%</c:formatCode>
                <c:ptCount val="2"/>
                <c:pt idx="0">
                  <c:v>0.28239596718394783</c:v>
                </c:pt>
                <c:pt idx="1">
                  <c:v>3.2143596416003783E-2</c:v>
                </c:pt>
              </c:numCache>
              <c:extLst/>
            </c:numRef>
          </c:val>
          <c:extLst>
            <c:ext xmlns:c16="http://schemas.microsoft.com/office/drawing/2014/chart" uri="{C3380CC4-5D6E-409C-BE32-E72D297353CC}">
              <c16:uniqueId val="{00000001-36DC-4669-90B8-5CC790E08BD0}"/>
            </c:ext>
          </c:extLst>
        </c:ser>
        <c:ser>
          <c:idx val="2"/>
          <c:order val="2"/>
          <c:tx>
            <c:strRef>
              <c:f>Sheet1!$M$8</c:f>
              <c:strCache>
                <c:ptCount val="1"/>
                <c:pt idx="0">
                  <c:v>No Longer Eligible</c:v>
                </c:pt>
              </c:strCache>
            </c:strRef>
          </c:tx>
          <c:spPr>
            <a:pattFill prst="ltUpDiag">
              <a:fgClr>
                <a:srgbClr val="D9D9D9"/>
              </a:fgClr>
              <a:bgClr>
                <a:schemeClr val="bg1"/>
              </a:bgClr>
            </a:patt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J$9:$J$11</c:f>
              <c:strCache>
                <c:ptCount val="2"/>
                <c:pt idx="0">
                  <c:v>Enhanced Services</c:v>
                </c:pt>
                <c:pt idx="1">
                  <c:v>Digital Services</c:v>
                </c:pt>
              </c:strCache>
              <c:extLst/>
            </c:strRef>
          </c:cat>
          <c:val>
            <c:numRef>
              <c:f>Sheet1!$M$9:$M$11</c:f>
              <c:numCache>
                <c:formatCode>0%</c:formatCode>
                <c:ptCount val="2"/>
                <c:pt idx="0">
                  <c:v>0.23692794306612633</c:v>
                </c:pt>
                <c:pt idx="1">
                  <c:v>0.13561226602004908</c:v>
                </c:pt>
              </c:numCache>
              <c:extLst/>
            </c:numRef>
          </c:val>
          <c:extLst>
            <c:ext xmlns:c16="http://schemas.microsoft.com/office/drawing/2014/chart" uri="{C3380CC4-5D6E-409C-BE32-E72D297353CC}">
              <c16:uniqueId val="{00000002-36DC-4669-90B8-5CC790E08BD0}"/>
            </c:ext>
          </c:extLst>
        </c:ser>
        <c:ser>
          <c:idx val="4"/>
          <c:order val="3"/>
          <c:tx>
            <c:strRef>
              <c:f>Sheet1!$N$8</c:f>
              <c:strCache>
                <c:ptCount val="1"/>
                <c:pt idx="0">
                  <c:v>Study</c:v>
                </c:pt>
              </c:strCache>
            </c:strRef>
          </c:tx>
          <c:spPr>
            <a:solidFill>
              <a:srgbClr val="F2611F"/>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J$9:$J$11</c:f>
              <c:strCache>
                <c:ptCount val="2"/>
                <c:pt idx="0">
                  <c:v>Enhanced Services</c:v>
                </c:pt>
                <c:pt idx="1">
                  <c:v>Digital Services</c:v>
                </c:pt>
              </c:strCache>
              <c:extLst/>
            </c:strRef>
          </c:cat>
          <c:val>
            <c:numRef>
              <c:f>Sheet1!$N$9:$N$11</c:f>
              <c:numCache>
                <c:formatCode>0%</c:formatCode>
                <c:ptCount val="2"/>
                <c:pt idx="0">
                  <c:v>3.0542650983493132E-2</c:v>
                </c:pt>
                <c:pt idx="1">
                  <c:v>2.6732116982582724E-2</c:v>
                </c:pt>
              </c:numCache>
              <c:extLst/>
            </c:numRef>
          </c:val>
          <c:extLst>
            <c:ext xmlns:c16="http://schemas.microsoft.com/office/drawing/2014/chart" uri="{C3380CC4-5D6E-409C-BE32-E72D297353CC}">
              <c16:uniqueId val="{00000003-36DC-4669-90B8-5CC790E08BD0}"/>
            </c:ext>
          </c:extLst>
        </c:ser>
        <c:ser>
          <c:idx val="3"/>
          <c:order val="4"/>
          <c:tx>
            <c:strRef>
              <c:f>Sheet1!$O$8</c:f>
              <c:strCache>
                <c:ptCount val="1"/>
                <c:pt idx="0">
                  <c:v>Other</c:v>
                </c:pt>
              </c:strCache>
            </c:strRef>
          </c:tx>
          <c:spPr>
            <a:solidFill>
              <a:srgbClr val="E9A913"/>
            </a:solidFill>
            <a:ln>
              <a:noFill/>
            </a:ln>
            <a:effectLst/>
          </c:spPr>
          <c:invertIfNegative val="0"/>
          <c:dLbls>
            <c:dLbl>
              <c:idx val="0"/>
              <c:layout>
                <c:manualLayout>
                  <c:x val="-7.4177097821047748E-3"/>
                  <c:y val="-1.4232406595550858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6DC-4669-90B8-5CC790E08BD0}"/>
                </c:ext>
              </c:extLst>
            </c:dLbl>
            <c:spPr>
              <a:noFill/>
              <a:ln>
                <a:noFill/>
              </a:ln>
              <a:effectLst/>
            </c:spPr>
            <c:txPr>
              <a:bodyPr rot="0" spcFirstLastPara="1" vertOverflow="ellipsis" vert="horz" wrap="square" anchor="ctr" anchorCtr="1"/>
              <a:lstStyle/>
              <a:p>
                <a:pPr>
                  <a:defRPr sz="1100" b="0" i="0" u="none" strike="noStrike" kern="1200" baseline="0">
                    <a:solidFill>
                      <a:sysClr val="windowText" lastClr="000000"/>
                    </a:solidFill>
                    <a:latin typeface="Arial Nova Cond" panose="020B0506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J$9:$J$11</c:f>
              <c:strCache>
                <c:ptCount val="2"/>
                <c:pt idx="0">
                  <c:v>Enhanced Services</c:v>
                </c:pt>
                <c:pt idx="1">
                  <c:v>Digital Services</c:v>
                </c:pt>
              </c:strCache>
              <c:extLst/>
            </c:strRef>
          </c:cat>
          <c:val>
            <c:numRef>
              <c:f>Sheet1!$O$9:$O$11</c:f>
              <c:numCache>
                <c:formatCode>0%</c:formatCode>
                <c:ptCount val="2"/>
                <c:pt idx="0">
                  <c:v>6.6966492043095779E-2</c:v>
                </c:pt>
                <c:pt idx="1">
                  <c:v>2.1764201437146996E-2</c:v>
                </c:pt>
              </c:numCache>
              <c:extLst/>
            </c:numRef>
          </c:val>
          <c:extLst>
            <c:ext xmlns:c16="http://schemas.microsoft.com/office/drawing/2014/chart" uri="{C3380CC4-5D6E-409C-BE32-E72D297353CC}">
              <c16:uniqueId val="{00000005-36DC-4669-90B8-5CC790E08BD0}"/>
            </c:ext>
          </c:extLst>
        </c:ser>
        <c:dLbls>
          <c:showLegendKey val="0"/>
          <c:showVal val="0"/>
          <c:showCatName val="0"/>
          <c:showSerName val="0"/>
          <c:showPercent val="0"/>
          <c:showBubbleSize val="0"/>
        </c:dLbls>
        <c:gapWidth val="219"/>
        <c:overlap val="100"/>
        <c:axId val="141486655"/>
        <c:axId val="1600347711"/>
      </c:barChart>
      <c:catAx>
        <c:axId val="141486655"/>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ctr">
              <a:defRPr lang="en-US" sz="1000" b="1" i="0" u="none" strike="noStrike" kern="1200" baseline="0">
                <a:solidFill>
                  <a:schemeClr val="tx1"/>
                </a:solidFill>
                <a:latin typeface="Arial Nova Cond" panose="020B0506020202020204" pitchFamily="34" charset="0"/>
                <a:ea typeface="+mn-ea"/>
                <a:cs typeface="+mn-cs"/>
              </a:defRPr>
            </a:pPr>
            <a:endParaRPr lang="en-US"/>
          </a:p>
        </c:txPr>
        <c:crossAx val="1600347711"/>
        <c:crosses val="autoZero"/>
        <c:auto val="1"/>
        <c:lblAlgn val="ctr"/>
        <c:lblOffset val="100"/>
        <c:noMultiLvlLbl val="0"/>
      </c:catAx>
      <c:valAx>
        <c:axId val="1600347711"/>
        <c:scaling>
          <c:orientation val="minMax"/>
          <c:max val="1"/>
        </c:scaling>
        <c:delete val="1"/>
        <c:axPos val="b"/>
        <c:numFmt formatCode="0%" sourceLinked="1"/>
        <c:majorTickMark val="none"/>
        <c:minorTickMark val="none"/>
        <c:tickLblPos val="nextTo"/>
        <c:crossAx val="141486655"/>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lang="en-US" sz="1100" b="0" i="0" u="none" strike="noStrike" kern="1200" baseline="0">
              <a:solidFill>
                <a:schemeClr val="tx1"/>
              </a:solidFill>
              <a:latin typeface="Arial Nova Cond" panose="020B0506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1"/>
          <c:tx>
            <c:strRef>
              <c:f>Sheet1!$W$11</c:f>
              <c:strCache>
                <c:ptCount val="1"/>
                <c:pt idx="0">
                  <c:v>4 Week Outcomes</c:v>
                </c:pt>
              </c:strCache>
            </c:strRef>
          </c:tx>
          <c:spPr>
            <a:ln w="19050" cap="rnd">
              <a:solidFill>
                <a:srgbClr val="F2611F"/>
              </a:solidFill>
              <a:round/>
            </a:ln>
            <a:effectLst/>
          </c:spPr>
          <c:marker>
            <c:symbol val="none"/>
          </c:marker>
          <c:cat>
            <c:numRef>
              <c:f>Sheet1!$U$12:$U$28</c:f>
              <c:numCache>
                <c:formatCode>[$-C09]mmm\-yy;@</c:formatCode>
                <c:ptCount val="17"/>
                <c:pt idx="0">
                  <c:v>43830</c:v>
                </c:pt>
                <c:pt idx="1">
                  <c:v>43861</c:v>
                </c:pt>
                <c:pt idx="2">
                  <c:v>43889</c:v>
                </c:pt>
                <c:pt idx="3">
                  <c:v>43921</c:v>
                </c:pt>
                <c:pt idx="4">
                  <c:v>43951</c:v>
                </c:pt>
                <c:pt idx="5">
                  <c:v>43982</c:v>
                </c:pt>
                <c:pt idx="6">
                  <c:v>44012</c:v>
                </c:pt>
                <c:pt idx="7">
                  <c:v>44043</c:v>
                </c:pt>
                <c:pt idx="8">
                  <c:v>44073</c:v>
                </c:pt>
                <c:pt idx="9">
                  <c:v>44103</c:v>
                </c:pt>
                <c:pt idx="10">
                  <c:v>44133</c:v>
                </c:pt>
                <c:pt idx="11">
                  <c:v>44163</c:v>
                </c:pt>
                <c:pt idx="12">
                  <c:v>44193</c:v>
                </c:pt>
                <c:pt idx="13">
                  <c:v>44223</c:v>
                </c:pt>
                <c:pt idx="14">
                  <c:v>44253</c:v>
                </c:pt>
                <c:pt idx="15">
                  <c:v>44283</c:v>
                </c:pt>
                <c:pt idx="16">
                  <c:v>44316</c:v>
                </c:pt>
              </c:numCache>
            </c:numRef>
          </c:cat>
          <c:val>
            <c:numRef>
              <c:f>Sheet1!$W$12:$W$28</c:f>
              <c:numCache>
                <c:formatCode>#,##0</c:formatCode>
                <c:ptCount val="17"/>
                <c:pt idx="0">
                  <c:v>86</c:v>
                </c:pt>
                <c:pt idx="1">
                  <c:v>250</c:v>
                </c:pt>
                <c:pt idx="2">
                  <c:v>255</c:v>
                </c:pt>
                <c:pt idx="3">
                  <c:v>389</c:v>
                </c:pt>
                <c:pt idx="4">
                  <c:v>457</c:v>
                </c:pt>
                <c:pt idx="5">
                  <c:v>243</c:v>
                </c:pt>
                <c:pt idx="6">
                  <c:v>294</c:v>
                </c:pt>
                <c:pt idx="7">
                  <c:v>466</c:v>
                </c:pt>
                <c:pt idx="8">
                  <c:v>440</c:v>
                </c:pt>
                <c:pt idx="9">
                  <c:v>673</c:v>
                </c:pt>
                <c:pt idx="10">
                  <c:v>563</c:v>
                </c:pt>
                <c:pt idx="11">
                  <c:v>650</c:v>
                </c:pt>
                <c:pt idx="12">
                  <c:v>591</c:v>
                </c:pt>
                <c:pt idx="13">
                  <c:v>610</c:v>
                </c:pt>
                <c:pt idx="14">
                  <c:v>564</c:v>
                </c:pt>
                <c:pt idx="15">
                  <c:v>887</c:v>
                </c:pt>
                <c:pt idx="16">
                  <c:v>790</c:v>
                </c:pt>
              </c:numCache>
            </c:numRef>
          </c:val>
          <c:smooth val="0"/>
          <c:extLst>
            <c:ext xmlns:c16="http://schemas.microsoft.com/office/drawing/2014/chart" uri="{C3380CC4-5D6E-409C-BE32-E72D297353CC}">
              <c16:uniqueId val="{00000000-81CC-495B-BD7B-058CB3543DA6}"/>
            </c:ext>
          </c:extLst>
        </c:ser>
        <c:ser>
          <c:idx val="2"/>
          <c:order val="2"/>
          <c:tx>
            <c:strRef>
              <c:f>Sheet1!$X$11</c:f>
              <c:strCache>
                <c:ptCount val="1"/>
                <c:pt idx="0">
                  <c:v>12 Week Outcomes</c:v>
                </c:pt>
              </c:strCache>
            </c:strRef>
          </c:tx>
          <c:spPr>
            <a:ln w="19050" cap="rnd">
              <a:solidFill>
                <a:srgbClr val="B6016A"/>
              </a:solidFill>
              <a:round/>
            </a:ln>
            <a:effectLst/>
          </c:spPr>
          <c:marker>
            <c:symbol val="none"/>
          </c:marker>
          <c:cat>
            <c:numRef>
              <c:f>Sheet1!$U$12:$U$28</c:f>
              <c:numCache>
                <c:formatCode>[$-C09]mmm\-yy;@</c:formatCode>
                <c:ptCount val="17"/>
                <c:pt idx="0">
                  <c:v>43830</c:v>
                </c:pt>
                <c:pt idx="1">
                  <c:v>43861</c:v>
                </c:pt>
                <c:pt idx="2">
                  <c:v>43889</c:v>
                </c:pt>
                <c:pt idx="3">
                  <c:v>43921</c:v>
                </c:pt>
                <c:pt idx="4">
                  <c:v>43951</c:v>
                </c:pt>
                <c:pt idx="5">
                  <c:v>43982</c:v>
                </c:pt>
                <c:pt idx="6">
                  <c:v>44012</c:v>
                </c:pt>
                <c:pt idx="7">
                  <c:v>44043</c:v>
                </c:pt>
                <c:pt idx="8">
                  <c:v>44073</c:v>
                </c:pt>
                <c:pt idx="9">
                  <c:v>44103</c:v>
                </c:pt>
                <c:pt idx="10">
                  <c:v>44133</c:v>
                </c:pt>
                <c:pt idx="11">
                  <c:v>44163</c:v>
                </c:pt>
                <c:pt idx="12">
                  <c:v>44193</c:v>
                </c:pt>
                <c:pt idx="13">
                  <c:v>44223</c:v>
                </c:pt>
                <c:pt idx="14">
                  <c:v>44253</c:v>
                </c:pt>
                <c:pt idx="15">
                  <c:v>44283</c:v>
                </c:pt>
                <c:pt idx="16">
                  <c:v>44316</c:v>
                </c:pt>
              </c:numCache>
            </c:numRef>
          </c:cat>
          <c:val>
            <c:numRef>
              <c:f>Sheet1!$X$12:$X$28</c:f>
              <c:numCache>
                <c:formatCode>General</c:formatCode>
                <c:ptCount val="17"/>
                <c:pt idx="1">
                  <c:v>4</c:v>
                </c:pt>
                <c:pt idx="2">
                  <c:v>156</c:v>
                </c:pt>
                <c:pt idx="3">
                  <c:v>246</c:v>
                </c:pt>
                <c:pt idx="4">
                  <c:v>270</c:v>
                </c:pt>
                <c:pt idx="5">
                  <c:v>215</c:v>
                </c:pt>
                <c:pt idx="6">
                  <c:v>291</c:v>
                </c:pt>
                <c:pt idx="7">
                  <c:v>235</c:v>
                </c:pt>
                <c:pt idx="8">
                  <c:v>261</c:v>
                </c:pt>
                <c:pt idx="9">
                  <c:v>464</c:v>
                </c:pt>
                <c:pt idx="10">
                  <c:v>426</c:v>
                </c:pt>
                <c:pt idx="11">
                  <c:v>509</c:v>
                </c:pt>
                <c:pt idx="12">
                  <c:v>555</c:v>
                </c:pt>
                <c:pt idx="13">
                  <c:v>596</c:v>
                </c:pt>
                <c:pt idx="14">
                  <c:v>635</c:v>
                </c:pt>
                <c:pt idx="15">
                  <c:v>654</c:v>
                </c:pt>
                <c:pt idx="16">
                  <c:v>546</c:v>
                </c:pt>
              </c:numCache>
            </c:numRef>
          </c:val>
          <c:smooth val="0"/>
          <c:extLst>
            <c:ext xmlns:c16="http://schemas.microsoft.com/office/drawing/2014/chart" uri="{C3380CC4-5D6E-409C-BE32-E72D297353CC}">
              <c16:uniqueId val="{00000001-81CC-495B-BD7B-058CB3543DA6}"/>
            </c:ext>
          </c:extLst>
        </c:ser>
        <c:ser>
          <c:idx val="3"/>
          <c:order val="3"/>
          <c:tx>
            <c:strRef>
              <c:f>Sheet1!$Y$11</c:f>
              <c:strCache>
                <c:ptCount val="1"/>
                <c:pt idx="0">
                  <c:v>26 Week Outcomes</c:v>
                </c:pt>
              </c:strCache>
            </c:strRef>
          </c:tx>
          <c:spPr>
            <a:ln w="19050" cap="rnd">
              <a:solidFill>
                <a:srgbClr val="008276"/>
              </a:solidFill>
              <a:round/>
            </a:ln>
            <a:effectLst/>
          </c:spPr>
          <c:marker>
            <c:symbol val="none"/>
          </c:marker>
          <c:cat>
            <c:numRef>
              <c:f>Sheet1!$U$12:$U$28</c:f>
              <c:numCache>
                <c:formatCode>[$-C09]mmm\-yy;@</c:formatCode>
                <c:ptCount val="17"/>
                <c:pt idx="0">
                  <c:v>43830</c:v>
                </c:pt>
                <c:pt idx="1">
                  <c:v>43861</c:v>
                </c:pt>
                <c:pt idx="2">
                  <c:v>43889</c:v>
                </c:pt>
                <c:pt idx="3">
                  <c:v>43921</c:v>
                </c:pt>
                <c:pt idx="4">
                  <c:v>43951</c:v>
                </c:pt>
                <c:pt idx="5">
                  <c:v>43982</c:v>
                </c:pt>
                <c:pt idx="6">
                  <c:v>44012</c:v>
                </c:pt>
                <c:pt idx="7">
                  <c:v>44043</c:v>
                </c:pt>
                <c:pt idx="8">
                  <c:v>44073</c:v>
                </c:pt>
                <c:pt idx="9">
                  <c:v>44103</c:v>
                </c:pt>
                <c:pt idx="10">
                  <c:v>44133</c:v>
                </c:pt>
                <c:pt idx="11">
                  <c:v>44163</c:v>
                </c:pt>
                <c:pt idx="12">
                  <c:v>44193</c:v>
                </c:pt>
                <c:pt idx="13">
                  <c:v>44223</c:v>
                </c:pt>
                <c:pt idx="14">
                  <c:v>44253</c:v>
                </c:pt>
                <c:pt idx="15">
                  <c:v>44283</c:v>
                </c:pt>
                <c:pt idx="16">
                  <c:v>44316</c:v>
                </c:pt>
              </c:numCache>
            </c:numRef>
          </c:cat>
          <c:val>
            <c:numRef>
              <c:f>Sheet1!$Y$12:$Y$28</c:f>
              <c:numCache>
                <c:formatCode>General</c:formatCode>
                <c:ptCount val="17"/>
                <c:pt idx="5">
                  <c:v>7</c:v>
                </c:pt>
                <c:pt idx="6">
                  <c:v>134</c:v>
                </c:pt>
                <c:pt idx="7">
                  <c:v>122</c:v>
                </c:pt>
                <c:pt idx="8">
                  <c:v>159</c:v>
                </c:pt>
                <c:pt idx="9">
                  <c:v>207</c:v>
                </c:pt>
                <c:pt idx="10">
                  <c:v>135</c:v>
                </c:pt>
                <c:pt idx="11">
                  <c:v>167</c:v>
                </c:pt>
                <c:pt idx="12">
                  <c:v>240</c:v>
                </c:pt>
                <c:pt idx="13">
                  <c:v>294</c:v>
                </c:pt>
                <c:pt idx="14">
                  <c:v>310</c:v>
                </c:pt>
                <c:pt idx="15">
                  <c:v>379</c:v>
                </c:pt>
                <c:pt idx="16">
                  <c:v>406</c:v>
                </c:pt>
              </c:numCache>
            </c:numRef>
          </c:val>
          <c:smooth val="0"/>
          <c:extLst>
            <c:ext xmlns:c16="http://schemas.microsoft.com/office/drawing/2014/chart" uri="{C3380CC4-5D6E-409C-BE32-E72D297353CC}">
              <c16:uniqueId val="{00000002-81CC-495B-BD7B-058CB3543DA6}"/>
            </c:ext>
          </c:extLst>
        </c:ser>
        <c:dLbls>
          <c:showLegendKey val="0"/>
          <c:showVal val="0"/>
          <c:showCatName val="0"/>
          <c:showSerName val="0"/>
          <c:showPercent val="0"/>
          <c:showBubbleSize val="0"/>
        </c:dLbls>
        <c:smooth val="0"/>
        <c:axId val="68938415"/>
        <c:axId val="151308895"/>
        <c:extLst>
          <c:ext xmlns:c15="http://schemas.microsoft.com/office/drawing/2012/chart" uri="{02D57815-91ED-43cb-92C2-25804820EDAC}">
            <c15:filteredLineSeries>
              <c15:ser>
                <c:idx val="0"/>
                <c:order val="0"/>
                <c:tx>
                  <c:strRef>
                    <c:extLst>
                      <c:ext uri="{02D57815-91ED-43cb-92C2-25804820EDAC}">
                        <c15:formulaRef>
                          <c15:sqref>Sheet1!$V$11</c15:sqref>
                        </c15:formulaRef>
                      </c:ext>
                    </c:extLst>
                    <c:strCache>
                      <c:ptCount val="1"/>
                      <c:pt idx="0">
                        <c:v>Placements</c:v>
                      </c:pt>
                    </c:strCache>
                  </c:strRef>
                </c:tx>
                <c:spPr>
                  <a:ln w="28575" cap="rnd">
                    <a:solidFill>
                      <a:schemeClr val="accent1"/>
                    </a:solidFill>
                    <a:round/>
                  </a:ln>
                  <a:effectLst/>
                </c:spPr>
                <c:marker>
                  <c:symbol val="none"/>
                </c:marker>
                <c:cat>
                  <c:numRef>
                    <c:extLst>
                      <c:ext uri="{02D57815-91ED-43cb-92C2-25804820EDAC}">
                        <c15:formulaRef>
                          <c15:sqref>Sheet1!$U$12:$U$28</c15:sqref>
                        </c15:formulaRef>
                      </c:ext>
                    </c:extLst>
                    <c:numCache>
                      <c:formatCode>[$-C09]mmm\-yy;@</c:formatCode>
                      <c:ptCount val="17"/>
                      <c:pt idx="0">
                        <c:v>43830</c:v>
                      </c:pt>
                      <c:pt idx="1">
                        <c:v>43861</c:v>
                      </c:pt>
                      <c:pt idx="2">
                        <c:v>43889</c:v>
                      </c:pt>
                      <c:pt idx="3">
                        <c:v>43921</c:v>
                      </c:pt>
                      <c:pt idx="4">
                        <c:v>43951</c:v>
                      </c:pt>
                      <c:pt idx="5">
                        <c:v>43982</c:v>
                      </c:pt>
                      <c:pt idx="6">
                        <c:v>44012</c:v>
                      </c:pt>
                      <c:pt idx="7">
                        <c:v>44043</c:v>
                      </c:pt>
                      <c:pt idx="8">
                        <c:v>44073</c:v>
                      </c:pt>
                      <c:pt idx="9">
                        <c:v>44103</c:v>
                      </c:pt>
                      <c:pt idx="10">
                        <c:v>44133</c:v>
                      </c:pt>
                      <c:pt idx="11">
                        <c:v>44163</c:v>
                      </c:pt>
                      <c:pt idx="12">
                        <c:v>44193</c:v>
                      </c:pt>
                      <c:pt idx="13">
                        <c:v>44223</c:v>
                      </c:pt>
                      <c:pt idx="14">
                        <c:v>44253</c:v>
                      </c:pt>
                      <c:pt idx="15">
                        <c:v>44283</c:v>
                      </c:pt>
                      <c:pt idx="16">
                        <c:v>44316</c:v>
                      </c:pt>
                    </c:numCache>
                  </c:numRef>
                </c:cat>
                <c:val>
                  <c:numRef>
                    <c:extLst>
                      <c:ext uri="{02D57815-91ED-43cb-92C2-25804820EDAC}">
                        <c15:formulaRef>
                          <c15:sqref>Sheet1!$V$12:$V$28</c15:sqref>
                        </c15:formulaRef>
                      </c:ext>
                    </c:extLst>
                    <c:numCache>
                      <c:formatCode>General</c:formatCode>
                      <c:ptCount val="17"/>
                      <c:pt idx="0">
                        <c:v>105</c:v>
                      </c:pt>
                      <c:pt idx="1">
                        <c:v>323</c:v>
                      </c:pt>
                      <c:pt idx="2">
                        <c:v>350</c:v>
                      </c:pt>
                      <c:pt idx="3">
                        <c:v>521</c:v>
                      </c:pt>
                      <c:pt idx="4">
                        <c:v>635</c:v>
                      </c:pt>
                      <c:pt idx="5">
                        <c:v>337</c:v>
                      </c:pt>
                      <c:pt idx="6">
                        <c:v>389</c:v>
                      </c:pt>
                      <c:pt idx="7">
                        <c:v>591</c:v>
                      </c:pt>
                      <c:pt idx="8">
                        <c:v>568</c:v>
                      </c:pt>
                    </c:numCache>
                  </c:numRef>
                </c:val>
                <c:smooth val="0"/>
                <c:extLst>
                  <c:ext xmlns:c16="http://schemas.microsoft.com/office/drawing/2014/chart" uri="{C3380CC4-5D6E-409C-BE32-E72D297353CC}">
                    <c16:uniqueId val="{00000003-81CC-495B-BD7B-058CB3543DA6}"/>
                  </c:ext>
                </c:extLst>
              </c15:ser>
            </c15:filteredLineSeries>
          </c:ext>
        </c:extLst>
      </c:lineChart>
      <c:dateAx>
        <c:axId val="68938415"/>
        <c:scaling>
          <c:orientation val="minMax"/>
        </c:scaling>
        <c:delete val="0"/>
        <c:axPos val="b"/>
        <c:numFmt formatCode="[$-C09]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Nova Cond" panose="020B0506020202020204" pitchFamily="34" charset="0"/>
                <a:ea typeface="+mn-ea"/>
                <a:cs typeface="+mn-cs"/>
              </a:defRPr>
            </a:pPr>
            <a:endParaRPr lang="en-US"/>
          </a:p>
        </c:txPr>
        <c:crossAx val="151308895"/>
        <c:crosses val="autoZero"/>
        <c:auto val="0"/>
        <c:lblOffset val="100"/>
        <c:baseTimeUnit val="months"/>
      </c:dateAx>
      <c:valAx>
        <c:axId val="151308895"/>
        <c:scaling>
          <c:orientation val="minMax"/>
        </c:scaling>
        <c:delete val="0"/>
        <c:axPos val="l"/>
        <c:majorGridlines>
          <c:spPr>
            <a:ln w="9525" cap="flat" cmpd="sng" algn="ctr">
              <a:solidFill>
                <a:schemeClr val="bg1">
                  <a:lumMod val="9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Arial Nova Cond" panose="020B0506020202020204" pitchFamily="34" charset="0"/>
                <a:ea typeface="+mn-ea"/>
                <a:cs typeface="+mn-cs"/>
              </a:defRPr>
            </a:pPr>
            <a:endParaRPr lang="en-US"/>
          </a:p>
        </c:txPr>
        <c:crossAx val="68938415"/>
        <c:crosses val="autoZero"/>
        <c:crossBetween val="between"/>
        <c:majorUnit val="250"/>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algn="ctr"/>
            <a:endParaRPr lang="en-US" b="1">
              <a:solidFill>
                <a:srgbClr val="FF0000"/>
              </a:solidFill>
              <a:latin typeface="Arial" panose="020B0604020202020204" pitchFamily="34" charset="0"/>
            </a:endParaRP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C8306197-B16C-4167-B4A2-43E65F1E5A01}" type="datetimeFigureOut">
              <a:rPr lang="en-US" smtClean="0"/>
              <a:t>6/16/2021</a:t>
            </a:fld>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pPr algn="ctr"/>
            <a:r>
              <a:rPr lang="en-US" b="1">
                <a:solidFill>
                  <a:srgbClr val="FF0000"/>
                </a:solidFill>
                <a:latin typeface="Arial" panose="020B0604020202020204" pitchFamily="34" charset="0"/>
              </a:rPr>
              <a:t>​‌OFFICIAL‌​</a:t>
            </a: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24B857B0-241B-4F33-A6B9-B9EFF8928931}" type="slidenum">
              <a:rPr lang="en-US" smtClean="0"/>
              <a:t>‹#›</a:t>
            </a:fld>
            <a:endParaRPr lang="en-US"/>
          </a:p>
        </p:txBody>
      </p:sp>
    </p:spTree>
    <p:extLst>
      <p:ext uri="{BB962C8B-B14F-4D97-AF65-F5344CB8AC3E}">
        <p14:creationId xmlns:p14="http://schemas.microsoft.com/office/powerpoint/2010/main" val="98890792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ctr">
              <a:defRPr sz="1200" b="1" i="0" u="none">
                <a:solidFill>
                  <a:srgbClr val="FF0000"/>
                </a:solidFill>
                <a:latin typeface="Arial" panose="020B0604020202020204" pitchFamily="34" charset="0"/>
              </a:defRPr>
            </a:lvl1pPr>
          </a:lstStyle>
          <a:p>
            <a:endParaRPr lang="en-AU"/>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878F842-560F-42A5-A306-F766D7D6B80D}" type="datetimeFigureOut">
              <a:rPr lang="en-AU" smtClean="0"/>
              <a:t>16/06/2021</a:t>
            </a:fld>
            <a:endParaRPr lang="en-AU"/>
          </a:p>
        </p:txBody>
      </p:sp>
      <p:sp>
        <p:nvSpPr>
          <p:cNvPr id="4" name="Slide Image Placeholder 3"/>
          <p:cNvSpPr>
            <a:spLocks noGrp="1" noRot="1" noChangeAspect="1"/>
          </p:cNvSpPr>
          <p:nvPr>
            <p:ph type="sldImg" idx="2"/>
          </p:nvPr>
        </p:nvSpPr>
        <p:spPr>
          <a:xfrm>
            <a:off x="425450" y="1241425"/>
            <a:ext cx="5946775" cy="3349625"/>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ctr">
              <a:defRPr sz="1200" b="1" i="0" u="none">
                <a:solidFill>
                  <a:srgbClr val="FF0000"/>
                </a:solidFill>
                <a:latin typeface="Arial" panose="020B0604020202020204" pitchFamily="34" charset="0"/>
              </a:defRPr>
            </a:lvl1pPr>
          </a:lstStyle>
          <a:p>
            <a:r>
              <a:rPr lang="en-AU"/>
              <a:t>​‌OFFICIAL‌​</a:t>
            </a:r>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BD3FCEB-6CB7-4478-9568-E9785AFEA658}" type="slidenum">
              <a:rPr lang="en-AU" smtClean="0"/>
              <a:t>‹#›</a:t>
            </a:fld>
            <a:endParaRPr lang="en-AU"/>
          </a:p>
        </p:txBody>
      </p:sp>
    </p:spTree>
    <p:extLst>
      <p:ext uri="{BB962C8B-B14F-4D97-AF65-F5344CB8AC3E}">
        <p14:creationId xmlns:p14="http://schemas.microsoft.com/office/powerpoint/2010/main" val="3398103722"/>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1206500"/>
            <a:ext cx="5946775" cy="3349625"/>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bg2">
                    <a:lumMod val="10000"/>
                  </a:schemeClr>
                </a:solidFill>
                <a:latin typeface="Calibri" panose="020F0502020204030204" pitchFamily="34" charset="0"/>
                <a:ea typeface="+mn-ea"/>
                <a:cs typeface="Calibri" panose="020F0502020204030204" pitchFamily="34" charset="0"/>
                <a:sym typeface="+mn-lt"/>
              </a:rPr>
              <a:t>Good afternoon, following on from the plenary session today on the New Employment Services Model, I want to walk through a couple of trials which have informed the model and some of the evaluation results and feedback received. </a:t>
            </a:r>
          </a:p>
          <a:p>
            <a:pPr marL="171450" lvl="0" indent="-171450">
              <a:buFont typeface="Arial" panose="020B0604020202020204" pitchFamily="34" charset="0"/>
              <a:buChar char="•"/>
            </a:pPr>
            <a:r>
              <a:rPr lang="en-US" sz="1200" kern="1200" dirty="0">
                <a:solidFill>
                  <a:schemeClr val="bg2">
                    <a:lumMod val="10000"/>
                  </a:schemeClr>
                </a:solidFill>
                <a:latin typeface="Calibri" panose="020F0502020204030204" pitchFamily="34" charset="0"/>
                <a:ea typeface="+mn-ea"/>
                <a:cs typeface="Calibri" panose="020F0502020204030204" pitchFamily="34" charset="0"/>
                <a:sym typeface="+mn-lt"/>
              </a:rPr>
              <a:t>I will also touch on key elements of the Points Based Activation System trial that is informing the design for the new model.</a:t>
            </a:r>
            <a:endParaRPr lang="en-AU" sz="1200" kern="1200" dirty="0">
              <a:solidFill>
                <a:schemeClr val="bg2">
                  <a:lumMod val="10000"/>
                </a:schemeClr>
              </a:solidFill>
              <a:latin typeface="Calibri" panose="020F0502020204030204" pitchFamily="34" charset="0"/>
              <a:ea typeface="+mn-ea"/>
              <a:cs typeface="Calibri" panose="020F0502020204030204" pitchFamily="34" charset="0"/>
            </a:endParaRPr>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a:t>
            </a:fld>
            <a:endParaRPr lang="en-US"/>
          </a:p>
        </p:txBody>
      </p:sp>
      <p:sp>
        <p:nvSpPr>
          <p:cNvPr id="5" name="Footer Placeholder 4">
            <a:extLst>
              <a:ext uri="{FF2B5EF4-FFF2-40B4-BE49-F238E27FC236}">
                <a16:creationId xmlns:a16="http://schemas.microsoft.com/office/drawing/2014/main" id="{94D5F324-394E-4911-80B4-719EEEAB65F2}"/>
              </a:ext>
            </a:extLst>
          </p:cNvPr>
          <p:cNvSpPr>
            <a:spLocks noGrp="1"/>
          </p:cNvSpPr>
          <p:nvPr>
            <p:ph type="ftr" sz="quarter" idx="4"/>
          </p:nvPr>
        </p:nvSpPr>
        <p:spPr>
          <a:xfrm>
            <a:off x="0" y="9428584"/>
            <a:ext cx="2945659" cy="498055"/>
          </a:xfrm>
        </p:spPr>
        <p:txBody>
          <a:bodyPr/>
          <a:lstStyle/>
          <a:p>
            <a:r>
              <a:rPr lang="en-AU"/>
              <a:t>​‌OFFICIAL‌​</a:t>
            </a:r>
          </a:p>
        </p:txBody>
      </p:sp>
      <p:sp>
        <p:nvSpPr>
          <p:cNvPr id="7" name="Header Placeholder 6">
            <a:extLst>
              <a:ext uri="{FF2B5EF4-FFF2-40B4-BE49-F238E27FC236}">
                <a16:creationId xmlns:a16="http://schemas.microsoft.com/office/drawing/2014/main" id="{1F909182-EEC2-4736-8AB9-163EAF181FBA}"/>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625294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A number of challenges were identified in each evaluation. </a:t>
            </a:r>
          </a:p>
          <a:p>
            <a:pPr marL="171450" indent="-171450">
              <a:buFont typeface="Arial" panose="020B0604020202020204" pitchFamily="34" charset="0"/>
              <a:buChar char="•"/>
            </a:pPr>
            <a:r>
              <a:rPr lang="en-AU" dirty="0"/>
              <a:t>For the OEST:</a:t>
            </a:r>
          </a:p>
          <a:p>
            <a:pPr marL="742950" lvl="1" indent="-285750">
              <a:spcBef>
                <a:spcPts val="600"/>
              </a:spcBef>
              <a:buFont typeface="Courier New" panose="02070309020205020404" pitchFamily="49" charset="0"/>
              <a:buChar char="o"/>
            </a:pPr>
            <a:r>
              <a:rPr lang="en-AU" dirty="0"/>
              <a:t>A preference for face-to-face servicing is the most common reason for opting out of OEST.</a:t>
            </a:r>
          </a:p>
          <a:p>
            <a:pPr marL="742950" lvl="1" indent="-285750">
              <a:spcBef>
                <a:spcPts val="600"/>
              </a:spcBef>
              <a:buFont typeface="Courier New" panose="02070309020205020404" pitchFamily="49" charset="0"/>
              <a:buChar char="o"/>
            </a:pPr>
            <a:r>
              <a:rPr lang="en-AU" dirty="0"/>
              <a:t>There were some key factors influencing higher optout rates – education, age, location and Indigenous status.</a:t>
            </a:r>
          </a:p>
          <a:p>
            <a:pPr marL="171450" indent="-171450">
              <a:buFont typeface="Arial" panose="020B0604020202020204" pitchFamily="34" charset="0"/>
              <a:buChar char="•"/>
            </a:pPr>
            <a:r>
              <a:rPr lang="en-AU" dirty="0"/>
              <a:t>For the Online JSCI Trial:</a:t>
            </a:r>
          </a:p>
          <a:p>
            <a:pPr marL="742950" lvl="1" indent="-285750">
              <a:spcBef>
                <a:spcPts val="600"/>
              </a:spcBef>
              <a:buFont typeface="Courier New" panose="02070309020205020404" pitchFamily="49" charset="0"/>
              <a:buChar char="o"/>
            </a:pPr>
            <a:r>
              <a:rPr lang="en-AU" dirty="0"/>
              <a:t>Digital literacy was found to be the main driver of non-completion of the Online JSCI.</a:t>
            </a:r>
          </a:p>
          <a:p>
            <a:pPr marL="0" indent="0">
              <a:buFont typeface="+mj-lt"/>
              <a:buNone/>
            </a:pPr>
            <a:endParaRPr lang="en-AU" dirty="0"/>
          </a:p>
        </p:txBody>
      </p:sp>
      <p:sp>
        <p:nvSpPr>
          <p:cNvPr id="4" name="Slide Number Placeholder 3"/>
          <p:cNvSpPr>
            <a:spLocks noGrp="1"/>
          </p:cNvSpPr>
          <p:nvPr>
            <p:ph type="sldNum" sz="quarter" idx="10"/>
          </p:nvPr>
        </p:nvSpPr>
        <p:spPr/>
        <p:txBody>
          <a:bodyPr/>
          <a:lstStyle/>
          <a:p>
            <a:fld id="{3BD3FCEB-6CB7-4478-9568-E9785AFEA658}" type="slidenum">
              <a:rPr lang="en-AU" smtClean="0"/>
              <a:t>10</a:t>
            </a:fld>
            <a:endParaRPr lang="en-AU"/>
          </a:p>
        </p:txBody>
      </p:sp>
    </p:spTree>
    <p:extLst>
      <p:ext uri="{BB962C8B-B14F-4D97-AF65-F5344CB8AC3E}">
        <p14:creationId xmlns:p14="http://schemas.microsoft.com/office/powerpoint/2010/main" val="2311130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Based on this feedback and other lessons from the OEST and trial of the Online JSCI, the department is considering changes to improve the service, including:</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Improving onboarding processes to enhance user experience and engagement in the platform.</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Ongoing enhancements to the Digital Assessment to test suitability for online services and introducing a 4-monthly Digital Service Review.</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Offering a range of support to help job seekers to remain engaged in OES through the Digital Services Contact Centre.</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Supporting job seekers to upskill or reskill through </a:t>
            </a:r>
            <a:r>
              <a:rPr lang="en-AU" sz="1200" dirty="0" err="1"/>
              <a:t>JobTrainer</a:t>
            </a:r>
            <a:r>
              <a:rPr lang="en-AU" sz="1200" dirty="0"/>
              <a:t> and Higher Education short courses.</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Offering skills matching tools from Jobs and Education Infrastructure (JEDI) and links to the National Career Institute (NCI) platform.</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Adding functionality to allow employers to better describe job requirements.</a:t>
            </a:r>
          </a:p>
          <a:p>
            <a:pPr marL="171450" indent="-171450">
              <a:buFont typeface="Arial" panose="020B0604020202020204" pitchFamily="34" charset="0"/>
              <a:buChar char="•"/>
            </a:pPr>
            <a:r>
              <a:rPr lang="en-AU" dirty="0"/>
              <a:t>In addition, a number of safeguards remain or have been added to the OES, including:</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Job seekers can optout of OES at any point and be referred to a provider.</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Job seekers can update their Job Seeker Snapshot (JSS) if their circumstances change or contact the Contact Centre for support for support.</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The Digital Services Review assesses whether job seekers are able to self-managing online. If it suggests they need more support, job seekers are encouraged to optout to be serviced by a provider.</a:t>
            </a:r>
          </a:p>
          <a:p>
            <a:pPr marL="628650" marR="0" lvl="1"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sz="1200" dirty="0"/>
              <a:t>From March 2021, young people (15-24) in OES have access to up to three one-hour sessions with a </a:t>
            </a:r>
            <a:r>
              <a:rPr lang="en-AU" sz="1200" dirty="0" err="1"/>
              <a:t>TtW</a:t>
            </a:r>
            <a:r>
              <a:rPr lang="en-AU" sz="1200" dirty="0"/>
              <a:t> provider.</a:t>
            </a:r>
          </a:p>
          <a:p>
            <a:pPr marL="171450" indent="-171450">
              <a:buFont typeface="Arial" panose="020B0604020202020204" pitchFamily="34" charset="0"/>
              <a:buChar char="•"/>
            </a:pPr>
            <a:r>
              <a:rPr lang="en-AU" dirty="0"/>
              <a:t>Because of the differences between OES and the OEST, the department is evaluating the OES separately. </a:t>
            </a:r>
          </a:p>
          <a:p>
            <a:pPr marL="171450" indent="-171450">
              <a:buFont typeface="Arial" panose="020B0604020202020204" pitchFamily="34" charset="0"/>
              <a:buChar char="•"/>
            </a:pPr>
            <a:r>
              <a:rPr lang="en-AU" dirty="0"/>
              <a:t>Evaluation design is underway and early field work commenced in April 2021.</a:t>
            </a:r>
          </a:p>
          <a:p>
            <a:endParaRPr lang="en-AU" dirty="0"/>
          </a:p>
        </p:txBody>
      </p:sp>
      <p:sp>
        <p:nvSpPr>
          <p:cNvPr id="4" name="Slide Number Placeholder 3"/>
          <p:cNvSpPr>
            <a:spLocks noGrp="1"/>
          </p:cNvSpPr>
          <p:nvPr>
            <p:ph type="sldNum" sz="quarter" idx="10"/>
          </p:nvPr>
        </p:nvSpPr>
        <p:spPr/>
        <p:txBody>
          <a:bodyPr/>
          <a:lstStyle/>
          <a:p>
            <a:fld id="{3BD3FCEB-6CB7-4478-9568-E9785AFEA658}" type="slidenum">
              <a:rPr lang="en-AU" smtClean="0"/>
              <a:t>11</a:t>
            </a:fld>
            <a:endParaRPr lang="en-AU"/>
          </a:p>
        </p:txBody>
      </p:sp>
    </p:spTree>
    <p:extLst>
      <p:ext uri="{BB962C8B-B14F-4D97-AF65-F5344CB8AC3E}">
        <p14:creationId xmlns:p14="http://schemas.microsoft.com/office/powerpoint/2010/main" val="32670376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i="0" kern="1200" dirty="0">
                <a:effectLst/>
                <a:ea typeface="+mn-ea"/>
                <a:cs typeface="+mn-cs"/>
              </a:rPr>
              <a:t>As you know, the new model is being trialled in two regions (Adelaide South in South Australia and Mid-North Coast of NSW) from 1 July 2019 before being rolled out nationally from July 2022. </a:t>
            </a:r>
          </a:p>
          <a:p>
            <a:pPr marL="171450" indent="-171450">
              <a:buFont typeface="Arial" panose="020B0604020202020204" pitchFamily="34" charset="0"/>
              <a:buChar char="•"/>
            </a:pPr>
            <a:r>
              <a:rPr lang="en-AU" b="0" i="0" kern="1200" dirty="0">
                <a:effectLst/>
                <a:ea typeface="+mn-ea"/>
                <a:cs typeface="+mn-cs"/>
              </a:rPr>
              <a:t>Aspects of the new model being tested include:</a:t>
            </a:r>
          </a:p>
          <a:p>
            <a:pPr marL="628650" lvl="1" indent="-171450">
              <a:buFont typeface="Courier New" panose="02070309020205020404" pitchFamily="49" charset="0"/>
              <a:buChar char="o"/>
            </a:pPr>
            <a:r>
              <a:rPr lang="en-AU" b="0" i="0" kern="1200" dirty="0">
                <a:effectLst/>
                <a:ea typeface="+mn-ea"/>
                <a:cs typeface="+mn-cs"/>
              </a:rPr>
              <a:t>the new Digital and Enhanced Services offerings</a:t>
            </a:r>
          </a:p>
          <a:p>
            <a:pPr marL="628650" lvl="1" indent="-171450">
              <a:buFont typeface="Courier New" panose="02070309020205020404" pitchFamily="49" charset="0"/>
              <a:buChar char="o"/>
            </a:pPr>
            <a:r>
              <a:rPr lang="en-AU" b="0" i="0" kern="1200" dirty="0">
                <a:effectLst/>
                <a:ea typeface="+mn-ea"/>
                <a:cs typeface="+mn-cs"/>
              </a:rPr>
              <a:t>new payment structures</a:t>
            </a:r>
          </a:p>
          <a:p>
            <a:pPr marL="628650" lvl="1" indent="-171450">
              <a:buFont typeface="Courier New" panose="02070309020205020404" pitchFamily="49" charset="0"/>
              <a:buChar char="o"/>
            </a:pPr>
            <a:r>
              <a:rPr lang="en-AU" b="0" i="0" kern="1200" dirty="0">
                <a:effectLst/>
                <a:ea typeface="+mn-ea"/>
                <a:cs typeface="+mn-cs"/>
              </a:rPr>
              <a:t>a new flexible, points-based activation system</a:t>
            </a:r>
          </a:p>
          <a:p>
            <a:pPr marL="628650" lvl="1" indent="-171450">
              <a:buFont typeface="Courier New" panose="02070309020205020404" pitchFamily="49" charset="0"/>
              <a:buChar char="o"/>
            </a:pPr>
            <a:r>
              <a:rPr lang="en-AU" b="0" i="0" kern="1200" dirty="0">
                <a:effectLst/>
                <a:ea typeface="+mn-ea"/>
                <a:cs typeface="+mn-cs"/>
              </a:rPr>
              <a:t>aspects of a new job seeker assessment framework.</a:t>
            </a:r>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12</a:t>
            </a:fld>
            <a:endParaRPr lang="en-AU"/>
          </a:p>
        </p:txBody>
      </p:sp>
    </p:spTree>
    <p:extLst>
      <p:ext uri="{BB962C8B-B14F-4D97-AF65-F5344CB8AC3E}">
        <p14:creationId xmlns:p14="http://schemas.microsoft.com/office/powerpoint/2010/main" val="1184358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i="0" kern="1200" dirty="0">
                <a:solidFill>
                  <a:schemeClr val="tx1"/>
                </a:solidFill>
                <a:effectLst/>
                <a:ea typeface="+mn-ea"/>
                <a:cs typeface="+mn-cs"/>
                <a:sym typeface="+mn-lt"/>
              </a:rPr>
              <a:t>Y</a:t>
            </a:r>
            <a:r>
              <a:rPr lang="en-AU" kern="1200" dirty="0">
                <a:solidFill>
                  <a:schemeClr val="tx1"/>
                </a:solidFill>
                <a:effectLst/>
                <a:ea typeface="+mn-ea"/>
                <a:cs typeface="+mn-cs"/>
                <a:sym typeface="+mn-lt"/>
              </a:rPr>
              <a:t>ou can see that the NEST digital  is very similar pattern to OES</a:t>
            </a:r>
          </a:p>
          <a:p>
            <a:pPr marL="171450" indent="-171450">
              <a:buFont typeface="Arial" panose="020B0604020202020204" pitchFamily="34" charset="0"/>
              <a:buChar char="•"/>
            </a:pPr>
            <a:r>
              <a:rPr lang="en-AU" dirty="0">
                <a:cs typeface="Calibri" panose="020F0502020204030204" pitchFamily="34" charset="0"/>
              </a:rPr>
              <a:t>Caseload trends from late 2020 have continued into 2021, with the Digital Services caseload reducing in size. </a:t>
            </a:r>
          </a:p>
          <a:p>
            <a:pPr marL="171450" indent="-171450">
              <a:buFont typeface="Arial" panose="020B0604020202020204" pitchFamily="34" charset="0"/>
              <a:buChar char="•"/>
            </a:pPr>
            <a:r>
              <a:rPr lang="en-AU" dirty="0">
                <a:cs typeface="Calibri" panose="020F0502020204030204" pitchFamily="34" charset="0"/>
              </a:rPr>
              <a:t>The Enhanced Services caseload has also shrunk but at a slower rate</a:t>
            </a:r>
            <a:r>
              <a:rPr lang="en-AU" dirty="0">
                <a:latin typeface="Calibri" panose="020F0502020204030204" pitchFamily="34" charset="0"/>
                <a:cs typeface="Calibri" panose="020F0502020204030204" pitchFamily="34" charset="0"/>
              </a:rPr>
              <a:t>. </a:t>
            </a:r>
          </a:p>
          <a:p>
            <a:pPr marL="171450" indent="-171450">
              <a:buFont typeface="Arial" panose="020B0604020202020204" pitchFamily="34" charset="0"/>
              <a:buChar char="•"/>
            </a:pPr>
            <a:r>
              <a:rPr lang="en-AU" b="0" kern="1200" dirty="0">
                <a:solidFill>
                  <a:schemeClr val="tx1"/>
                </a:solidFill>
                <a:effectLst/>
                <a:ea typeface="+mn-ea"/>
                <a:cs typeface="+mn-cs"/>
              </a:rPr>
              <a:t>Highest NEST caseloads:</a:t>
            </a:r>
          </a:p>
          <a:p>
            <a:pPr marL="628650" lvl="1" indent="-171450">
              <a:buFont typeface="Courier New" panose="02070309020205020404" pitchFamily="49" charset="0"/>
              <a:buChar char="o"/>
            </a:pPr>
            <a:r>
              <a:rPr lang="en-AU" kern="1200" dirty="0">
                <a:solidFill>
                  <a:schemeClr val="tx1"/>
                </a:solidFill>
                <a:effectLst/>
                <a:ea typeface="+mn-ea"/>
                <a:cs typeface="+mn-cs"/>
              </a:rPr>
              <a:t>Enhanced Services caseload: 32,240 (Nov 2020)</a:t>
            </a:r>
          </a:p>
          <a:p>
            <a:pPr marL="628650" lvl="1" indent="-171450">
              <a:buFont typeface="Courier New" panose="02070309020205020404" pitchFamily="49" charset="0"/>
              <a:buChar char="o"/>
            </a:pPr>
            <a:r>
              <a:rPr lang="en-AU" kern="1200" dirty="0">
                <a:solidFill>
                  <a:schemeClr val="tx1"/>
                </a:solidFill>
                <a:effectLst/>
                <a:ea typeface="+mn-ea"/>
                <a:cs typeface="+mn-cs"/>
              </a:rPr>
              <a:t>Digital caseload: 35,956 (May 2020).</a:t>
            </a:r>
          </a:p>
          <a:p>
            <a:pPr marL="171450" indent="-171450">
              <a:buFont typeface="Arial" panose="020B0604020202020204" pitchFamily="34" charset="0"/>
              <a:buChar char="•"/>
            </a:pPr>
            <a:r>
              <a:rPr lang="en-AU" b="0" kern="1200" dirty="0">
                <a:solidFill>
                  <a:schemeClr val="tx1"/>
                </a:solidFill>
                <a:effectLst/>
                <a:ea typeface="+mn-ea"/>
                <a:cs typeface="+mn-cs"/>
              </a:rPr>
              <a:t>By 30 April 21 the caseloads were:</a:t>
            </a:r>
          </a:p>
          <a:p>
            <a:pPr marL="628650" lvl="1" indent="-171450">
              <a:buFont typeface="Courier New" panose="02070309020205020404" pitchFamily="49" charset="0"/>
              <a:buChar char="o"/>
            </a:pPr>
            <a:r>
              <a:rPr lang="en-AU" kern="1200" dirty="0">
                <a:solidFill>
                  <a:schemeClr val="tx1"/>
                </a:solidFill>
                <a:effectLst/>
                <a:ea typeface="+mn-ea"/>
                <a:cs typeface="+mn-cs"/>
              </a:rPr>
              <a:t>Enhanced Services: 27,980</a:t>
            </a:r>
          </a:p>
          <a:p>
            <a:pPr marL="628650" lvl="1" indent="-171450">
              <a:buFont typeface="Courier New" panose="02070309020205020404" pitchFamily="49" charset="0"/>
              <a:buChar char="o"/>
            </a:pPr>
            <a:r>
              <a:rPr lang="en-AU" kern="1200" dirty="0">
                <a:solidFill>
                  <a:schemeClr val="tx1"/>
                </a:solidFill>
                <a:effectLst/>
                <a:ea typeface="+mn-ea"/>
                <a:cs typeface="+mn-cs"/>
              </a:rPr>
              <a:t>NEST Digital: 20,839.</a:t>
            </a:r>
          </a:p>
          <a:p>
            <a:endParaRPr lang="en-AU" kern="1200" dirty="0">
              <a:solidFill>
                <a:schemeClr val="tx1"/>
              </a:solidFill>
              <a:effectLst/>
              <a:ea typeface="+mn-ea"/>
              <a:cs typeface="+mn-cs"/>
            </a:endParaRPr>
          </a:p>
          <a:p>
            <a:pPr marL="171450" indent="-171450">
              <a:buFont typeface="Arial" panose="020B0604020202020204" pitchFamily="34" charset="0"/>
              <a:buChar char="•"/>
            </a:pPr>
            <a:endParaRPr lang="en-AU" dirty="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5840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latin typeface="Calibri" panose="020F0502020204030204" pitchFamily="34" charset="0"/>
                <a:cs typeface="Calibri" panose="020F0502020204030204" pitchFamily="34" charset="0"/>
              </a:rPr>
              <a:t>These bar charts show the exits from the NEST.</a:t>
            </a:r>
          </a:p>
          <a:p>
            <a:pPr marL="171450" indent="-171450">
              <a:buFont typeface="Arial" panose="020B0604020202020204" pitchFamily="34" charset="0"/>
              <a:buChar char="•"/>
            </a:pPr>
            <a:r>
              <a:rPr lang="en-AU" dirty="0">
                <a:latin typeface="Calibri" panose="020F0502020204030204" pitchFamily="34" charset="0"/>
                <a:cs typeface="Calibri" panose="020F0502020204030204" pitchFamily="34" charset="0"/>
              </a:rPr>
              <a:t>54,709 job seekers have exited from the Trial since it commenced. 62% of these exits (33,928) have been from Digital Services, and 38% (20,781) are from Enhanced Services. </a:t>
            </a:r>
          </a:p>
          <a:p>
            <a:pPr marL="171450" indent="-171450">
              <a:buFont typeface="Arial" panose="020B0604020202020204" pitchFamily="34" charset="0"/>
              <a:buChar char="•"/>
            </a:pPr>
            <a:r>
              <a:rPr lang="en-AU" dirty="0">
                <a:latin typeface="Calibri" panose="020F0502020204030204" pitchFamily="34" charset="0"/>
                <a:cs typeface="Calibri" panose="020F0502020204030204" pitchFamily="34" charset="0"/>
              </a:rPr>
              <a:t>The top reason for exiting the trial is moving into employment, followed by moving into another employment service or exiting from the program due to no longer being eligible. A small fraction of job seekers exit the Trial due to moving into study.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50449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cs typeface="Calibri" panose="020F0502020204030204" pitchFamily="34" charset="0"/>
              </a:rPr>
              <a:t>This graph shows the quantitative data in terms of outcomes claimed by Enhanced Services Providers in NEST.  </a:t>
            </a:r>
          </a:p>
          <a:p>
            <a:pPr marL="171450" indent="-171450">
              <a:buFont typeface="Arial" panose="020B0604020202020204" pitchFamily="34" charset="0"/>
              <a:buChar char="•"/>
            </a:pPr>
            <a:r>
              <a:rPr lang="en-AU" dirty="0">
                <a:cs typeface="Calibri" panose="020F0502020204030204" pitchFamily="34" charset="0"/>
              </a:rPr>
              <a:t>To date NEST providers have claimed the following in outcomes:</a:t>
            </a:r>
          </a:p>
          <a:p>
            <a:pPr marL="628650" lvl="1" indent="-171450">
              <a:buFont typeface="Courier New" panose="02070309020205020404" pitchFamily="49" charset="0"/>
              <a:buChar char="o"/>
            </a:pPr>
            <a:r>
              <a:rPr lang="en-AU" dirty="0">
                <a:cs typeface="Calibri" panose="020F0502020204030204" pitchFamily="34" charset="0"/>
              </a:rPr>
              <a:t>8,208 4 Week Outcomes</a:t>
            </a:r>
          </a:p>
          <a:p>
            <a:pPr marL="628650" lvl="1" indent="-171450">
              <a:buFont typeface="Courier New" panose="02070309020205020404" pitchFamily="49" charset="0"/>
              <a:buChar char="o"/>
            </a:pPr>
            <a:r>
              <a:rPr lang="en-AU" dirty="0">
                <a:cs typeface="Calibri" panose="020F0502020204030204" pitchFamily="34" charset="0"/>
              </a:rPr>
              <a:t>6,063 12 Week Outcomes</a:t>
            </a:r>
          </a:p>
          <a:p>
            <a:pPr marL="628650" lvl="1" indent="-171450">
              <a:buFont typeface="Courier New" panose="02070309020205020404" pitchFamily="49" charset="0"/>
              <a:buChar char="o"/>
            </a:pPr>
            <a:r>
              <a:rPr lang="en-AU" dirty="0">
                <a:cs typeface="Calibri" panose="020F0502020204030204" pitchFamily="34" charset="0"/>
              </a:rPr>
              <a:t>2,560 26 Week Outcomes. </a:t>
            </a:r>
          </a:p>
          <a:p>
            <a:pPr marL="171450" indent="-171450">
              <a:buFont typeface="Arial" panose="020B0604020202020204" pitchFamily="34" charset="0"/>
              <a:buChar char="•"/>
            </a:pPr>
            <a:r>
              <a:rPr lang="en-AU" kern="1200" dirty="0">
                <a:solidFill>
                  <a:schemeClr val="tx1"/>
                </a:solidFill>
                <a:ea typeface="+mn-ea"/>
                <a:cs typeface="Calibri" panose="020F0502020204030204" pitchFamily="34" charset="0"/>
              </a:rPr>
              <a:t>When you plot the count of outcomes claimed over time you can see a clear visual impact of COVID-19 between April and August 2020. </a:t>
            </a:r>
          </a:p>
          <a:p>
            <a:pPr marL="171450" indent="-171450">
              <a:buFont typeface="Arial" panose="020B0604020202020204" pitchFamily="34" charset="0"/>
              <a:buChar char="•"/>
            </a:pPr>
            <a:r>
              <a:rPr lang="en-AU" kern="1200" dirty="0">
                <a:solidFill>
                  <a:schemeClr val="tx1"/>
                </a:solidFill>
                <a:ea typeface="+mn-ea"/>
                <a:cs typeface="Calibri" panose="020F0502020204030204" pitchFamily="34" charset="0"/>
              </a:rPr>
              <a:t>Further, the increased number of 4 week outcomes since late 2020 is indicative of strengthening economic conditions.</a:t>
            </a:r>
          </a:p>
          <a:p>
            <a:endParaRPr lang="en-AU" dirty="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88519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kern="1200" dirty="0">
                <a:solidFill>
                  <a:schemeClr val="bg2">
                    <a:lumMod val="10000"/>
                  </a:schemeClr>
                </a:solidFill>
                <a:effectLst/>
                <a:cs typeface="Calibri" panose="020F0502020204030204" pitchFamily="34" charset="0"/>
                <a:sym typeface="+mn-lt"/>
              </a:rPr>
              <a:t>As you can see from this slide, we have taken an active approach to our evaluation for the NEST given the trial length and the need to inform elements of the new model.</a:t>
            </a:r>
          </a:p>
          <a:p>
            <a:pPr marL="171450" indent="-171450">
              <a:buFont typeface="Arial" panose="020B0604020202020204" pitchFamily="34" charset="0"/>
              <a:buChar char="•"/>
            </a:pPr>
            <a:r>
              <a:rPr lang="en-AU" kern="1200" dirty="0">
                <a:solidFill>
                  <a:schemeClr val="bg2">
                    <a:lumMod val="10000"/>
                  </a:schemeClr>
                </a:solidFill>
                <a:effectLst/>
                <a:cs typeface="Calibri" panose="020F0502020204030204" pitchFamily="34" charset="0"/>
                <a:sym typeface="+mn-lt"/>
              </a:rPr>
              <a:t>The evaluation of the NEST is based on:</a:t>
            </a:r>
          </a:p>
          <a:p>
            <a:pPr marL="223520" lvl="1" indent="-171450" algn="l" defTabSz="914400" rtl="0" eaLnBrk="1" latinLnBrk="0" hangingPunct="1">
              <a:lnSpc>
                <a:spcPct val="100000"/>
              </a:lnSpc>
              <a:spcBef>
                <a:spcPts val="0"/>
              </a:spcBef>
              <a:spcAft>
                <a:spcPts val="0"/>
              </a:spcAft>
              <a:buSzPct val="100000"/>
              <a:buFont typeface="Courier New" panose="02070309020205020404" pitchFamily="49" charset="0"/>
              <a:buChar char="o"/>
            </a:pPr>
            <a:r>
              <a:rPr lang="en-AU" b="0" i="0" u="none" kern="1200" spc="0" dirty="0">
                <a:solidFill>
                  <a:schemeClr val="bg2">
                    <a:lumMod val="10000"/>
                  </a:schemeClr>
                </a:solidFill>
                <a:effectLst/>
                <a:cs typeface="Calibri" panose="020F0502020204030204" pitchFamily="34" charset="0"/>
                <a:sym typeface="+mn-lt"/>
              </a:rPr>
              <a:t>A longitudinal study of NEST participants </a:t>
            </a:r>
          </a:p>
          <a:p>
            <a:pPr marL="223520" lvl="1" indent="-171450" algn="l" defTabSz="914400" rtl="0" eaLnBrk="1" latinLnBrk="0" hangingPunct="1">
              <a:lnSpc>
                <a:spcPct val="100000"/>
              </a:lnSpc>
              <a:spcBef>
                <a:spcPts val="0"/>
              </a:spcBef>
              <a:spcAft>
                <a:spcPts val="0"/>
              </a:spcAft>
              <a:buSzPct val="100000"/>
              <a:buFont typeface="Courier New" panose="02070309020205020404" pitchFamily="49" charset="0"/>
              <a:buChar char="o"/>
            </a:pPr>
            <a:r>
              <a:rPr lang="en-AU" b="0" i="0" u="none" kern="1200" spc="0" dirty="0">
                <a:solidFill>
                  <a:schemeClr val="bg2">
                    <a:lumMod val="10000"/>
                  </a:schemeClr>
                </a:solidFill>
                <a:effectLst/>
                <a:cs typeface="Calibri" panose="020F0502020204030204" pitchFamily="34" charset="0"/>
                <a:sym typeface="+mn-lt"/>
              </a:rPr>
              <a:t>Regular research with providers, departmental account managers and other stakeholders - </a:t>
            </a:r>
            <a:r>
              <a:rPr lang="en-AU" i="0" dirty="0"/>
              <a:t>This is qualitative feedback. </a:t>
            </a:r>
          </a:p>
          <a:p>
            <a:pPr marL="223520" lvl="1" indent="-171450" algn="l" defTabSz="914400" rtl="0" eaLnBrk="1" latinLnBrk="0" hangingPunct="1">
              <a:lnSpc>
                <a:spcPct val="100000"/>
              </a:lnSpc>
              <a:spcBef>
                <a:spcPts val="0"/>
              </a:spcBef>
              <a:spcAft>
                <a:spcPts val="0"/>
              </a:spcAft>
              <a:buSzPct val="100000"/>
              <a:buFont typeface="Courier New" panose="02070309020205020404" pitchFamily="49" charset="0"/>
              <a:buChar char="o"/>
            </a:pPr>
            <a:r>
              <a:rPr lang="en-AU" b="0" i="0" u="none" kern="1200" spc="0" dirty="0">
                <a:solidFill>
                  <a:schemeClr val="bg2">
                    <a:lumMod val="10000"/>
                  </a:schemeClr>
                </a:solidFill>
                <a:effectLst/>
                <a:cs typeface="Calibri" panose="020F0502020204030204" pitchFamily="34" charset="0"/>
                <a:sym typeface="+mn-lt"/>
              </a:rPr>
              <a:t>Quantitative analysis involving assessing outcomes in NEST regions against those in comparable regions - m</a:t>
            </a:r>
            <a:r>
              <a:rPr lang="en-AU" i="0" kern="1200" dirty="0">
                <a:solidFill>
                  <a:schemeClr val="tx1"/>
                </a:solidFill>
                <a:effectLst/>
                <a:ea typeface="+mn-ea"/>
                <a:cs typeface="+mn-cs"/>
              </a:rPr>
              <a:t>onitoring and evaluation data and methodologies for the analysis of NEST and </a:t>
            </a:r>
            <a:r>
              <a:rPr lang="en-AU" i="0" kern="1200" dirty="0" err="1">
                <a:solidFill>
                  <a:schemeClr val="tx1"/>
                </a:solidFill>
                <a:effectLst/>
                <a:ea typeface="+mn-ea"/>
                <a:cs typeface="+mn-cs"/>
              </a:rPr>
              <a:t>jobactive</a:t>
            </a:r>
            <a:r>
              <a:rPr lang="en-AU" i="0" kern="1200" dirty="0">
                <a:solidFill>
                  <a:schemeClr val="tx1"/>
                </a:solidFill>
                <a:effectLst/>
                <a:ea typeface="+mn-ea"/>
                <a:cs typeface="+mn-cs"/>
              </a:rPr>
              <a:t> data. Time periods used in the analysis vary, due to factors such as commencement of Enhanced Services (ES) and COVID-19. Where possible, NEST data is compared to </a:t>
            </a:r>
            <a:r>
              <a:rPr lang="en-AU" i="0" kern="1200" dirty="0" err="1">
                <a:solidFill>
                  <a:schemeClr val="tx1"/>
                </a:solidFill>
                <a:effectLst/>
                <a:ea typeface="+mn-ea"/>
                <a:cs typeface="+mn-cs"/>
              </a:rPr>
              <a:t>jobactive</a:t>
            </a:r>
            <a:r>
              <a:rPr lang="en-AU" i="0" kern="1200" dirty="0">
                <a:solidFill>
                  <a:schemeClr val="tx1"/>
                </a:solidFill>
                <a:effectLst/>
                <a:ea typeface="+mn-ea"/>
                <a:cs typeface="+mn-cs"/>
              </a:rPr>
              <a:t> comparison regions.</a:t>
            </a:r>
          </a:p>
          <a:p>
            <a:pPr marL="223520" lvl="1" indent="-171450" algn="l" defTabSz="914400" rtl="0" eaLnBrk="1" latinLnBrk="0" hangingPunct="1">
              <a:lnSpc>
                <a:spcPct val="100000"/>
              </a:lnSpc>
              <a:spcBef>
                <a:spcPts val="0"/>
              </a:spcBef>
              <a:spcAft>
                <a:spcPts val="0"/>
              </a:spcAft>
              <a:buSzPct val="100000"/>
              <a:buFont typeface="Courier New" panose="02070309020205020404" pitchFamily="49" charset="0"/>
              <a:buChar char="o"/>
            </a:pPr>
            <a:r>
              <a:rPr lang="en-AU" b="0" i="0" u="none" kern="1200" spc="0" dirty="0">
                <a:solidFill>
                  <a:schemeClr val="bg2">
                    <a:lumMod val="10000"/>
                  </a:schemeClr>
                </a:solidFill>
                <a:effectLst/>
                <a:cs typeface="Calibri" panose="020F0502020204030204" pitchFamily="34" charset="0"/>
                <a:sym typeface="+mn-lt"/>
              </a:rPr>
              <a:t>Ongoing program monitoring, including some surveys</a:t>
            </a:r>
            <a:r>
              <a:rPr lang="en-US" b="0" i="0" u="none" kern="1200" spc="0" dirty="0">
                <a:solidFill>
                  <a:schemeClr val="bg2">
                    <a:lumMod val="10000"/>
                  </a:schemeClr>
                </a:solidFill>
                <a:effectLst/>
                <a:cs typeface="Calibri" panose="020F0502020204030204" pitchFamily="34" charset="0"/>
                <a:sym typeface="+mn-lt"/>
              </a:rPr>
              <a:t>.</a:t>
            </a:r>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16</a:t>
            </a:fld>
            <a:endParaRPr lang="en-AU"/>
          </a:p>
        </p:txBody>
      </p:sp>
    </p:spTree>
    <p:extLst>
      <p:ext uri="{BB962C8B-B14F-4D97-AF65-F5344CB8AC3E}">
        <p14:creationId xmlns:p14="http://schemas.microsoft.com/office/powerpoint/2010/main" val="2592623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 evaluation has told us that flexibility is working well.</a:t>
            </a:r>
          </a:p>
          <a:p>
            <a:pPr marL="171450" indent="-171450">
              <a:buFont typeface="Arial" panose="020B0604020202020204" pitchFamily="34" charset="0"/>
              <a:buChar char="•"/>
            </a:pPr>
            <a:r>
              <a:rPr lang="en-AU" dirty="0"/>
              <a:t>The flexibility underpinning the NEST model enabled providers to quickly change their engagement approaches during Covid-19. </a:t>
            </a:r>
          </a:p>
          <a:p>
            <a:pPr marL="171450" indent="-171450">
              <a:buFont typeface="Arial" panose="020B0604020202020204" pitchFamily="34" charset="0"/>
              <a:buChar char="•"/>
            </a:pPr>
            <a:r>
              <a:rPr lang="en-AU" dirty="0"/>
              <a:t>Hybrid servicing has increased engagement reducing some barriers to participation for a number of job seekers. </a:t>
            </a:r>
          </a:p>
          <a:p>
            <a:pPr marL="0" indent="0">
              <a:lnSpc>
                <a:spcPct val="120000"/>
              </a:lnSpc>
              <a:buFont typeface="Arial" panose="020B0604020202020204" pitchFamily="34" charset="0"/>
              <a:buNone/>
            </a:pPr>
            <a:endParaRPr lang="en-AU" i="1" dirty="0"/>
          </a:p>
          <a:p>
            <a:endParaRPr lang="en-AU" dirty="0"/>
          </a:p>
        </p:txBody>
      </p:sp>
      <p:sp>
        <p:nvSpPr>
          <p:cNvPr id="4" name="Slide Number Placeholder 3"/>
          <p:cNvSpPr>
            <a:spLocks noGrp="1"/>
          </p:cNvSpPr>
          <p:nvPr>
            <p:ph type="sldNum" sz="quarter" idx="5"/>
          </p:nvPr>
        </p:nvSpPr>
        <p:spPr/>
        <p:txBody>
          <a:bodyPr/>
          <a:lstStyle/>
          <a:p>
            <a:fld id="{3BD3FCEB-6CB7-4478-9568-E9785AFEA658}" type="slidenum">
              <a:rPr lang="en-AU" smtClean="0"/>
              <a:t>17</a:t>
            </a:fld>
            <a:endParaRPr lang="en-AU"/>
          </a:p>
        </p:txBody>
      </p:sp>
    </p:spTree>
    <p:extLst>
      <p:ext uri="{BB962C8B-B14F-4D97-AF65-F5344CB8AC3E}">
        <p14:creationId xmlns:p14="http://schemas.microsoft.com/office/powerpoint/2010/main" val="39203166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b="0" dirty="0"/>
              <a:t>Relationships, Collaboration &amp; Engagement are also working well. </a:t>
            </a:r>
          </a:p>
          <a:p>
            <a:pPr marL="171450" indent="-171450">
              <a:buFont typeface="Arial" panose="020B0604020202020204" pitchFamily="34" charset="0"/>
              <a:buChar char="•"/>
            </a:pPr>
            <a:r>
              <a:rPr lang="en-AU" b="0" dirty="0"/>
              <a:t>Providers tell us they have:</a:t>
            </a:r>
          </a:p>
          <a:p>
            <a:pPr marL="628650" lvl="1" indent="-171450">
              <a:buFont typeface="Courier New" panose="02070309020205020404" pitchFamily="49" charset="0"/>
              <a:buChar char="o"/>
            </a:pPr>
            <a:r>
              <a:rPr lang="en-AU" dirty="0"/>
              <a:t>‘changed the conversation’ with participants from a compliance focus to an engagement focus. This has improved both staff and participant satisfaction. </a:t>
            </a:r>
          </a:p>
          <a:p>
            <a:pPr marL="628650" lvl="1" indent="-171450">
              <a:buFont typeface="Courier New" panose="02070309020205020404" pitchFamily="49" charset="0"/>
              <a:buChar char="o"/>
            </a:pPr>
            <a:r>
              <a:rPr lang="en-AU" dirty="0"/>
              <a:t>increased their employer servicing, and are developing meaningful work experience opportunities with host agencies. </a:t>
            </a:r>
          </a:p>
          <a:p>
            <a:pPr marL="628650" lvl="1" indent="-171450">
              <a:buFont typeface="Courier New" panose="02070309020205020404" pitchFamily="49" charset="0"/>
              <a:buChar char="o"/>
            </a:pPr>
            <a:r>
              <a:rPr lang="en-AU" dirty="0"/>
              <a:t>increased their collaboration and engagement with health and community organisations to deliver holistic services. </a:t>
            </a:r>
          </a:p>
          <a:p>
            <a:pPr marL="171450" indent="-171450">
              <a:buFont typeface="Arial" panose="020B0604020202020204" pitchFamily="34" charset="0"/>
              <a:buChar char="•"/>
            </a:pPr>
            <a:r>
              <a:rPr lang="en-AU" dirty="0"/>
              <a:t>Providers and the department are developing a relationship based on information-sharing and trust. </a:t>
            </a:r>
          </a:p>
          <a:p>
            <a:endParaRPr lang="en-AU" dirty="0"/>
          </a:p>
          <a:p>
            <a:endParaRPr lang="en-AU" dirty="0"/>
          </a:p>
        </p:txBody>
      </p:sp>
      <p:sp>
        <p:nvSpPr>
          <p:cNvPr id="4" name="Slide Number Placeholder 3"/>
          <p:cNvSpPr>
            <a:spLocks noGrp="1"/>
          </p:cNvSpPr>
          <p:nvPr>
            <p:ph type="sldNum" sz="quarter" idx="5"/>
          </p:nvPr>
        </p:nvSpPr>
        <p:spPr/>
        <p:txBody>
          <a:bodyPr/>
          <a:lstStyle/>
          <a:p>
            <a:fld id="{3BD3FCEB-6CB7-4478-9568-E9785AFEA658}" type="slidenum">
              <a:rPr lang="en-AU" smtClean="0"/>
              <a:t>18</a:t>
            </a:fld>
            <a:endParaRPr lang="en-AU"/>
          </a:p>
        </p:txBody>
      </p:sp>
    </p:spTree>
    <p:extLst>
      <p:ext uri="{BB962C8B-B14F-4D97-AF65-F5344CB8AC3E}">
        <p14:creationId xmlns:p14="http://schemas.microsoft.com/office/powerpoint/2010/main" val="2226341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a:t>The evaluation findings also told us that Innovation is also working well in the NEST. </a:t>
            </a:r>
          </a:p>
          <a:p>
            <a:pPr marL="171450" indent="-171450">
              <a:buFont typeface="Arial" panose="020B0604020202020204" pitchFamily="34" charset="0"/>
              <a:buChar char="•"/>
            </a:pPr>
            <a:r>
              <a:rPr lang="en-AU" sz="1200" b="0" kern="1200" dirty="0">
                <a:solidFill>
                  <a:schemeClr val="tx1"/>
                </a:solidFill>
                <a:latin typeface="+mn-lt"/>
                <a:ea typeface="+mn-ea"/>
                <a:cs typeface="+mn-cs"/>
              </a:rPr>
              <a:t>Providers are:</a:t>
            </a:r>
          </a:p>
          <a:p>
            <a:pPr marL="628650" lvl="1" indent="-171450">
              <a:buFont typeface="Courier New" panose="02070309020205020404" pitchFamily="49" charset="0"/>
              <a:buChar char="o"/>
            </a:pPr>
            <a:r>
              <a:rPr lang="en-AU" b="0" kern="1200" dirty="0">
                <a:solidFill>
                  <a:schemeClr val="tx1"/>
                </a:solidFill>
                <a:latin typeface="+mn-lt"/>
                <a:ea typeface="+mn-ea"/>
                <a:cs typeface="+mn-cs"/>
              </a:rPr>
              <a:t>feeling more empowered to find innovative solutions that meet participant and employer needs. </a:t>
            </a:r>
          </a:p>
          <a:p>
            <a:pPr marL="628650" lvl="1" indent="-171450">
              <a:buFont typeface="Courier New" panose="02070309020205020404" pitchFamily="49" charset="0"/>
              <a:buChar char="o"/>
            </a:pPr>
            <a:r>
              <a:rPr lang="en-AU" b="0" kern="1200" dirty="0">
                <a:solidFill>
                  <a:schemeClr val="tx1"/>
                </a:solidFill>
                <a:latin typeface="+mn-lt"/>
                <a:ea typeface="+mn-ea"/>
                <a:cs typeface="+mn-cs"/>
              </a:rPr>
              <a:t>meeting local employment demands by developing targeted skills training (e.g., call centre) or liaising with the department’s local employment groups. </a:t>
            </a:r>
          </a:p>
          <a:p>
            <a:pPr marL="628650" lvl="1" indent="-171450">
              <a:buFont typeface="Courier New" panose="02070309020205020404" pitchFamily="49" charset="0"/>
              <a:buChar char="o"/>
            </a:pPr>
            <a:r>
              <a:rPr lang="en-AU" b="0" kern="1200" dirty="0">
                <a:solidFill>
                  <a:schemeClr val="tx1"/>
                </a:solidFill>
                <a:latin typeface="+mn-lt"/>
                <a:ea typeface="+mn-ea"/>
                <a:cs typeface="+mn-cs"/>
              </a:rPr>
              <a:t>using digital technology to engage with and link participants and employers. </a:t>
            </a:r>
          </a:p>
          <a:p>
            <a:pPr marL="0" indent="0">
              <a:buFontTx/>
              <a:buNone/>
            </a:pPr>
            <a:endParaRPr lang="en-AU" sz="1200" b="0" kern="1200" dirty="0">
              <a:solidFill>
                <a:schemeClr val="tx1"/>
              </a:solidFill>
              <a:latin typeface="+mn-lt"/>
              <a:ea typeface="+mn-ea"/>
              <a:cs typeface="+mn-cs"/>
            </a:endParaRPr>
          </a:p>
          <a:p>
            <a:pPr marL="171450" lvl="0" indent="-171450">
              <a:lnSpc>
                <a:spcPct val="100000"/>
              </a:lnSpc>
              <a:spcBef>
                <a:spcPts val="0"/>
              </a:spcBef>
              <a:buFontTx/>
              <a:buChar char="-"/>
              <a:defRPr/>
            </a:pPr>
            <a:endParaRPr lang="en-AU" dirty="0"/>
          </a:p>
          <a:p>
            <a:endParaRPr lang="en-AU" dirty="0"/>
          </a:p>
        </p:txBody>
      </p:sp>
      <p:sp>
        <p:nvSpPr>
          <p:cNvPr id="4" name="Slide Number Placeholder 3"/>
          <p:cNvSpPr>
            <a:spLocks noGrp="1"/>
          </p:cNvSpPr>
          <p:nvPr>
            <p:ph type="sldNum" sz="quarter" idx="5"/>
          </p:nvPr>
        </p:nvSpPr>
        <p:spPr/>
        <p:txBody>
          <a:bodyPr/>
          <a:lstStyle/>
          <a:p>
            <a:fld id="{3BD3FCEB-6CB7-4478-9568-E9785AFEA658}" type="slidenum">
              <a:rPr lang="en-AU" smtClean="0"/>
              <a:t>19</a:t>
            </a:fld>
            <a:endParaRPr lang="en-AU"/>
          </a:p>
        </p:txBody>
      </p:sp>
    </p:spTree>
    <p:extLst>
      <p:ext uri="{BB962C8B-B14F-4D97-AF65-F5344CB8AC3E}">
        <p14:creationId xmlns:p14="http://schemas.microsoft.com/office/powerpoint/2010/main" val="1245478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a:buChar char="•"/>
            </a:pPr>
            <a:r>
              <a:rPr lang="en-AU" dirty="0"/>
              <a:t>We respectfully acknowledge the traditional owners and custodians of this land.</a:t>
            </a:r>
            <a:endParaRPr lang="en-AU" dirty="0">
              <a:cs typeface="Calibri" panose="020F0502020204030204"/>
            </a:endParaRPr>
          </a:p>
          <a:p>
            <a:pPr marL="171450" indent="-171450">
              <a:buFont typeface="Arial"/>
              <a:buChar char="•"/>
            </a:pPr>
            <a:r>
              <a:rPr lang="en-AU" dirty="0"/>
              <a:t>We pay our respects to them and their elders past, present and emerging and to those who are present with us today.</a:t>
            </a:r>
            <a:endParaRPr lang="en-AU" dirty="0">
              <a:cs typeface="Calibri" panose="020F0502020204030204"/>
            </a:endParaRPr>
          </a:p>
          <a:p>
            <a:endParaRPr lang="en-AU"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a:t>
            </a:fld>
            <a:endParaRPr lang="en-AU"/>
          </a:p>
        </p:txBody>
      </p:sp>
      <p:sp>
        <p:nvSpPr>
          <p:cNvPr id="6" name="Header Placeholder 5">
            <a:extLst>
              <a:ext uri="{FF2B5EF4-FFF2-40B4-BE49-F238E27FC236}">
                <a16:creationId xmlns:a16="http://schemas.microsoft.com/office/drawing/2014/main" id="{4BA689DD-D332-49AD-9B7D-FFEC16826C93}"/>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7688638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There were also some areas of development identified from the evaluation findings that are being incorporated into final policy for the new model. Three examples include:</a:t>
            </a:r>
          </a:p>
          <a:p>
            <a:pPr marL="0" indent="0">
              <a:buNone/>
            </a:pPr>
            <a:endParaRPr lang="en-AU" b="1" dirty="0"/>
          </a:p>
          <a:p>
            <a:pPr marL="0" indent="0">
              <a:buNone/>
            </a:pPr>
            <a:r>
              <a:rPr lang="en-AU" b="1" dirty="0"/>
              <a:t>1. Tiers</a:t>
            </a:r>
          </a:p>
          <a:p>
            <a:pPr marL="171450" indent="-171450">
              <a:buFont typeface="Courier New" panose="02070309020205020404" pitchFamily="49" charset="0"/>
              <a:buChar char="o"/>
            </a:pPr>
            <a:r>
              <a:rPr lang="en-AU" dirty="0"/>
              <a:t>In the NEST evaluation, Providers had mixed views about the value of Tiers. </a:t>
            </a:r>
          </a:p>
          <a:p>
            <a:pPr marL="171450" indent="-171450">
              <a:buFont typeface="Courier New" panose="02070309020205020404" pitchFamily="49" charset="0"/>
              <a:buChar char="o"/>
            </a:pPr>
            <a:r>
              <a:rPr lang="en-AU" dirty="0"/>
              <a:t>There was some appreciation of them as focusing on assessment and having an administrative function, but they are not broadly supported in the context of their perceived value and usefulness. </a:t>
            </a:r>
          </a:p>
          <a:p>
            <a:pPr marL="171450" indent="-171450">
              <a:buFont typeface="Courier New" panose="02070309020205020404" pitchFamily="49" charset="0"/>
              <a:buChar char="o"/>
            </a:pPr>
            <a:r>
              <a:rPr lang="en-AU" dirty="0"/>
              <a:t>They were not considered useful in a servicing role as most providers indicated they focussed assessment and servicing on individual needs rather than classifying in a Tier.</a:t>
            </a:r>
            <a:r>
              <a:rPr lang="en-AU" b="1" i="1" dirty="0"/>
              <a:t> </a:t>
            </a:r>
          </a:p>
          <a:p>
            <a:pPr marL="0" indent="0">
              <a:buFont typeface="Arial" panose="020B0604020202020204" pitchFamily="34" charset="0"/>
              <a:buNone/>
            </a:pPr>
            <a:endParaRPr lang="en-AU" dirty="0"/>
          </a:p>
          <a:p>
            <a:pPr marL="0" indent="0">
              <a:buFont typeface="Arial" panose="020B0604020202020204" pitchFamily="34" charset="0"/>
              <a:buNone/>
            </a:pPr>
            <a:r>
              <a:rPr lang="en-AU" b="1" dirty="0"/>
              <a:t>2. Digital Servicing</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AU" dirty="0"/>
              <a:t>The</a:t>
            </a:r>
            <a:r>
              <a:rPr lang="en-AU" b="0" i="0" dirty="0"/>
              <a:t> NEST evaluation</a:t>
            </a:r>
            <a:r>
              <a:rPr lang="en-AU" dirty="0"/>
              <a:t> identified that having two digital service streams created an administrative burden and in practice</a:t>
            </a:r>
            <a:r>
              <a:rPr lang="en-AU" b="0" i="0" dirty="0"/>
              <a:t>, people were being moved between the two service </a:t>
            </a:r>
            <a:r>
              <a:rPr lang="en-AU" dirty="0"/>
              <a:t>offerings</a:t>
            </a:r>
            <a:r>
              <a:rPr lang="en-AU" b="0" i="0" dirty="0"/>
              <a:t> to access the Employment Fund and other </a:t>
            </a:r>
            <a:r>
              <a:rPr lang="en-AU" dirty="0"/>
              <a:t>supports when needed</a:t>
            </a:r>
            <a:r>
              <a:rPr lang="en-AU" b="0" i="0" dirty="0"/>
              <a:t>.</a:t>
            </a:r>
            <a:r>
              <a:rPr lang="en-AU" dirty="0"/>
              <a:t> </a:t>
            </a:r>
          </a:p>
          <a:p>
            <a:pPr marL="171450" indent="-171450">
              <a:buFont typeface="Courier New" panose="02070309020205020404" pitchFamily="49" charset="0"/>
              <a:buChar char="o"/>
            </a:pPr>
            <a:r>
              <a:rPr lang="en-AU" dirty="0"/>
              <a:t>In line with this, the</a:t>
            </a:r>
            <a:r>
              <a:rPr lang="en-AU" b="0" i="0" dirty="0"/>
              <a:t> service offering for the new model has been simplified from the one trialled, there were originally two service levels planned in digital (Digital First and Digital Plus) and these have been integrated into one digital services offer</a:t>
            </a:r>
            <a:endParaRPr lang="en-AU" b="0" i="0" dirty="0">
              <a:cs typeface="Calibri"/>
            </a:endParaRPr>
          </a:p>
          <a:p>
            <a:pPr marL="171450" indent="-171450">
              <a:buFont typeface="Courier New" panose="02070309020205020404" pitchFamily="49" charset="0"/>
              <a:buChar char="o"/>
            </a:pPr>
            <a:r>
              <a:rPr lang="en-AU" dirty="0"/>
              <a:t>Simplifying to a single digital service had reduced beige tape. </a:t>
            </a:r>
          </a:p>
          <a:p>
            <a:pPr marL="171450" indent="-171450">
              <a:buFont typeface="Courier New" panose="02070309020205020404" pitchFamily="49" charset="0"/>
              <a:buChar char="o"/>
            </a:pPr>
            <a:r>
              <a:rPr lang="en-AU" dirty="0"/>
              <a:t>It focusses on offering job seeker support based on what they want and need.</a:t>
            </a:r>
          </a:p>
          <a:p>
            <a:pPr marL="0" indent="0">
              <a:buFont typeface="Arial" panose="020B0604020202020204" pitchFamily="34" charset="0"/>
              <a:buNone/>
            </a:pPr>
            <a:endParaRPr lang="en-AU" dirty="0"/>
          </a:p>
          <a:p>
            <a:pPr marL="0" indent="0">
              <a:buFont typeface="Arial" panose="020B0604020202020204" pitchFamily="34" charset="0"/>
              <a:buNone/>
            </a:pPr>
            <a:r>
              <a:rPr lang="en-AU" b="1" dirty="0"/>
              <a:t>3. Payment structure including </a:t>
            </a:r>
            <a:r>
              <a:rPr lang="en-AU" b="1" dirty="0">
                <a:cs typeface="Calibri"/>
              </a:rPr>
              <a:t>Outcome payments</a:t>
            </a:r>
          </a:p>
          <a:p>
            <a:pPr marL="171450" indent="-171450">
              <a:buFont typeface="Courier New" panose="02070309020205020404" pitchFamily="49" charset="0"/>
              <a:buChar char="o"/>
            </a:pPr>
            <a:r>
              <a:rPr lang="en-AU" dirty="0">
                <a:cs typeface="Calibri"/>
              </a:rPr>
              <a:t>T</a:t>
            </a:r>
            <a:r>
              <a:rPr lang="en-US" dirty="0"/>
              <a:t>he new model will include the </a:t>
            </a:r>
            <a:r>
              <a:rPr lang="en-US" dirty="0" err="1"/>
              <a:t>i</a:t>
            </a:r>
            <a:r>
              <a:rPr lang="en-AU" dirty="0" err="1"/>
              <a:t>ntroduction</a:t>
            </a:r>
            <a:r>
              <a:rPr lang="en-AU" dirty="0"/>
              <a:t> of a partial 26-week outcome payment that recognises the more disadvantaged caseload in the new model, and supports job placements in those industries which have a high prevalence of part-time work (such as the aged care sector). </a:t>
            </a:r>
          </a:p>
          <a:p>
            <a:pPr marL="171450" indent="-171450">
              <a:buFont typeface="Courier New" panose="02070309020205020404" pitchFamily="49" charset="0"/>
              <a:buChar char="o"/>
            </a:pPr>
            <a:r>
              <a:rPr lang="en-AU" dirty="0"/>
              <a:t>In addition the engagement fee from the NEST trial has been increased from $1,000 to $1200 and a transfer engagement fee of $600 has been introduced.</a:t>
            </a:r>
          </a:p>
          <a:p>
            <a:pPr marL="0" indent="0">
              <a:buFont typeface="Arial" panose="020B0604020202020204" pitchFamily="34" charset="0"/>
              <a:buNone/>
            </a:pPr>
            <a:endParaRPr lang="en-AU" dirty="0"/>
          </a:p>
          <a:p>
            <a:pPr marL="171450" indent="-171450">
              <a:buFont typeface="Arial" panose="020B0604020202020204" pitchFamily="34" charset="0"/>
              <a:buChar char="•"/>
            </a:pPr>
            <a:r>
              <a:rPr lang="en-AU" dirty="0"/>
              <a:t>These are just three examples of how areas of development identified in the evaluation findings are being incorporated into final policy. </a:t>
            </a:r>
          </a:p>
          <a:p>
            <a:pPr marL="171450" indent="-171450">
              <a:buFont typeface="Arial" panose="020B0604020202020204" pitchFamily="34" charset="0"/>
              <a:buChar char="•"/>
            </a:pPr>
            <a:r>
              <a:rPr lang="en-AU" dirty="0"/>
              <a:t>The iterative nature of NEST means that we are continuing to refine our approach.</a:t>
            </a:r>
          </a:p>
          <a:p>
            <a:pPr marL="0" indent="0">
              <a:buFont typeface="Arial" panose="020B0604020202020204" pitchFamily="34" charset="0"/>
              <a:buNone/>
            </a:pPr>
            <a:endParaRPr lang="en-AU" dirty="0"/>
          </a:p>
          <a:p>
            <a:pPr marL="0" indent="0">
              <a:buFont typeface="Arial" panose="020B0604020202020204" pitchFamily="34" charset="0"/>
              <a:buNone/>
            </a:pPr>
            <a:endParaRPr lang="en-AU" dirty="0"/>
          </a:p>
        </p:txBody>
      </p:sp>
      <p:sp>
        <p:nvSpPr>
          <p:cNvPr id="4" name="Slide Number Placeholder 3"/>
          <p:cNvSpPr>
            <a:spLocks noGrp="1"/>
          </p:cNvSpPr>
          <p:nvPr>
            <p:ph type="sldNum" sz="quarter" idx="5"/>
          </p:nvPr>
        </p:nvSpPr>
        <p:spPr/>
        <p:txBody>
          <a:bodyPr/>
          <a:lstStyle/>
          <a:p>
            <a:fld id="{3BD3FCEB-6CB7-4478-9568-E9785AFEA658}" type="slidenum">
              <a:rPr lang="en-AU" smtClean="0"/>
              <a:t>20</a:t>
            </a:fld>
            <a:endParaRPr lang="en-AU"/>
          </a:p>
        </p:txBody>
      </p:sp>
    </p:spTree>
    <p:extLst>
      <p:ext uri="{BB962C8B-B14F-4D97-AF65-F5344CB8AC3E}">
        <p14:creationId xmlns:p14="http://schemas.microsoft.com/office/powerpoint/2010/main" val="39284490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mn-ea"/>
                <a:cs typeface="+mn-cs"/>
              </a:rPr>
              <a:t>One of the key elements that will be included in the NESM and is still being refined is PBA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PBAS </a:t>
            </a:r>
            <a:r>
              <a:rPr lang="en-US" sz="1200" b="0" kern="1200" dirty="0" err="1">
                <a:solidFill>
                  <a:srgbClr val="FF0000"/>
                </a:solidFill>
                <a:effectLst/>
                <a:latin typeface="+mn-lt"/>
                <a:ea typeface="+mn-ea"/>
                <a:cs typeface="+mn-cs"/>
              </a:rPr>
              <a:t>recognises</a:t>
            </a:r>
            <a:r>
              <a:rPr lang="en-US" sz="1200" b="0" kern="1200" dirty="0">
                <a:solidFill>
                  <a:srgbClr val="FF0000"/>
                </a:solidFill>
                <a:effectLst/>
                <a:latin typeface="+mn-lt"/>
                <a:ea typeface="+mn-ea"/>
                <a:cs typeface="+mn-cs"/>
              </a:rPr>
              <a:t> that there is no one size fits all approach to getting people into employment and job seekers should be given flexibility to determine the tasks and activities that the job seeker can undertake to move towards employment and not be in receipt of income support. </a:t>
            </a:r>
          </a:p>
          <a:p>
            <a:pPr marL="171450" lvl="0" indent="-171450">
              <a:buFont typeface="Arial" panose="020B0604020202020204" pitchFamily="34" charset="0"/>
              <a:buChar char="•"/>
            </a:pPr>
            <a:r>
              <a:rPr lang="en-US" sz="1200" b="0" kern="1200" dirty="0">
                <a:solidFill>
                  <a:srgbClr val="FF0000"/>
                </a:solidFill>
                <a:effectLst/>
                <a:latin typeface="+mn-lt"/>
                <a:ea typeface="+mn-ea"/>
                <a:cs typeface="+mn-cs"/>
              </a:rPr>
              <a:t>The learnings from the trial of PBAS in NEST regions, in addition to further consultation and user-testing, will be used to inform the final design of PBAS for the new model.</a:t>
            </a:r>
            <a:endParaRPr lang="en-AU"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e Points Based Activation System promotes greater personal responsibility by job seekers while maintaining strong mutual obligations and a focus on employment.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Under PBAS, job seekers with mutual obligations requirements are able to meet their requirements by undertaking a variety of job-related tasks and activities to meet a specified points target each reporting period. The tasks and activities that the job seeker can choose to undertake to meet their requirements are designed to assist them to move into employment and off income support.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The Department introduced PBAS in December 2020 as part of the New Employment Services Trial (NEST), currently underway in Adelaide South, South Australia and Mid North Coast, New South Wales. </a:t>
            </a:r>
          </a:p>
          <a:p>
            <a:pPr marL="171450" indent="-171450">
              <a:buFont typeface="Arial" panose="020B0604020202020204" pitchFamily="34" charset="0"/>
              <a:buChar char="•"/>
            </a:pPr>
            <a:r>
              <a:rPr lang="en-AU" sz="1200" kern="1200" dirty="0">
                <a:solidFill>
                  <a:schemeClr val="tx1"/>
                </a:solidFill>
                <a:effectLst/>
                <a:latin typeface="+mn-lt"/>
                <a:ea typeface="+mn-ea"/>
                <a:cs typeface="+mn-cs"/>
              </a:rPr>
              <a:t>All new Digital Services job seekers in the NEST regions manage their participation in employment services under PBAS, with the option for job seekers to opt out. Existing Digital and Enhanced Services job seekers are able to opt in to PBAS.</a:t>
            </a:r>
          </a:p>
          <a:p>
            <a:pPr marL="171450" indent="-171450">
              <a:buFont typeface="Arial" panose="020B0604020202020204" pitchFamily="34" charset="0"/>
              <a:buChar char="•"/>
            </a:pPr>
            <a:endParaRPr lang="en-AU" sz="1200" kern="1200" dirty="0">
              <a:solidFill>
                <a:schemeClr val="tx1"/>
              </a:solidFill>
              <a:effectLst/>
              <a:latin typeface="+mn-lt"/>
              <a:ea typeface="+mn-ea"/>
              <a:cs typeface="+mn-cs"/>
            </a:endParaRPr>
          </a:p>
          <a:p>
            <a:pPr marL="171450" indent="-171450">
              <a:spcAft>
                <a:spcPts val="300"/>
              </a:spcAft>
              <a:buFont typeface="Arial" panose="020B0604020202020204" pitchFamily="34" charset="0"/>
              <a:buChar char="•"/>
            </a:pPr>
            <a:endParaRPr lang="en-US" dirty="0">
              <a:cs typeface="Calibri"/>
            </a:endParaRPr>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1</a:t>
            </a:fld>
            <a:endParaRPr lang="en-AU"/>
          </a:p>
        </p:txBody>
      </p:sp>
    </p:spTree>
    <p:extLst>
      <p:ext uri="{BB962C8B-B14F-4D97-AF65-F5344CB8AC3E}">
        <p14:creationId xmlns:p14="http://schemas.microsoft.com/office/powerpoint/2010/main" val="33759601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ll job seekers that use PBAS to manage their mutual obligations have a job plan that states their obligations in return for receiving income support and this includes meeting a points target. Job seekers are required to agree to this job plan. </a:t>
            </a:r>
            <a:endParaRPr lang="en-AU"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As mentioned, job seekers can meet their points target by completing a range of tasks and activities such as job search, job interviews, commencing a job, paid work, study and training. All tasks and activities are assigned a points value. </a:t>
            </a:r>
            <a:endParaRPr lang="en-AU" sz="1100" kern="1200" dirty="0">
              <a:solidFill>
                <a:schemeClr val="tx1"/>
              </a:solidFill>
              <a:effectLst/>
              <a:latin typeface="+mn-lt"/>
              <a:ea typeface="+mn-ea"/>
              <a:cs typeface="+mn-cs"/>
            </a:endParaRP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If a job seeker meets their points target for their current reporting period, they can bank their additional points for the next reporting period (up to half of their target). </a:t>
            </a:r>
          </a:p>
          <a:p>
            <a:pPr marL="628650" lvl="1" indent="-171450">
              <a:buFont typeface="Courier New" panose="02070309020205020404" pitchFamily="49" charset="0"/>
              <a:buChar char="o"/>
            </a:pPr>
            <a:r>
              <a:rPr lang="en-AU" sz="1200" kern="1200" dirty="0">
                <a:solidFill>
                  <a:schemeClr val="tx1"/>
                </a:solidFill>
                <a:effectLst/>
                <a:latin typeface="+mn-lt"/>
                <a:ea typeface="+mn-ea"/>
                <a:cs typeface="+mn-cs"/>
              </a:rPr>
              <a:t>Banking points provides additional flexibility and rewards job seekers who do more tasks to get them closer to employment.  </a:t>
            </a:r>
            <a:endParaRPr lang="en-AU" dirty="0">
              <a:effectLst/>
            </a:endParaRPr>
          </a:p>
          <a:p>
            <a:pPr marL="171450" lvl="0" indent="-171450">
              <a:buFont typeface="Arial" panose="020B0604020202020204" pitchFamily="34" charset="0"/>
              <a:buChar char="•"/>
            </a:pPr>
            <a:r>
              <a:rPr lang="en-AU" sz="1200" kern="1200" dirty="0">
                <a:solidFill>
                  <a:schemeClr val="tx1"/>
                </a:solidFill>
                <a:effectLst/>
                <a:latin typeface="+mn-lt"/>
                <a:ea typeface="+mn-ea"/>
                <a:cs typeface="+mn-cs"/>
              </a:rPr>
              <a:t>Job seekers are still subject to the Targeted Compliance Framework when they don’t meet their mutual obligation requirements.</a:t>
            </a:r>
          </a:p>
          <a:p>
            <a:pPr marL="628650" lvl="1" indent="-171450">
              <a:buFont typeface="Courier New" panose="02070309020205020404" pitchFamily="49" charset="0"/>
              <a:buChar char="o"/>
            </a:pPr>
            <a:r>
              <a:rPr lang="en-AU" kern="1200" dirty="0">
                <a:solidFill>
                  <a:schemeClr val="tx1"/>
                </a:solidFill>
                <a:effectLst/>
                <a:latin typeface="+mn-lt"/>
                <a:ea typeface="+mn-ea"/>
                <a:cs typeface="+mn-cs"/>
              </a:rPr>
              <a:t>It will apply when a job seeker does not meet their monthly points target without a valid reason, and when a job seeker does not accept suitable work, attend interviews or does not participate in a compulsory activity without a valid reason.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D3FCEB-6CB7-4478-9568-E9785AFEA6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37221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Early feedback from the PBAS trial based on the findings from June 2021 is positive.</a:t>
            </a:r>
          </a:p>
          <a:p>
            <a:pPr marL="171450" indent="-171450">
              <a:lnSpc>
                <a:spcPct val="110000"/>
              </a:lnSpc>
              <a:buFont typeface="Arial" panose="020B0604020202020204" pitchFamily="34" charset="0"/>
              <a:buChar char="•"/>
            </a:pPr>
            <a:r>
              <a:rPr lang="en-AU" sz="1200" dirty="0">
                <a:solidFill>
                  <a:schemeClr val="tx1"/>
                </a:solidFill>
              </a:rPr>
              <a:t>All providers are using PBAS </a:t>
            </a:r>
            <a:r>
              <a:rPr lang="en-AU" sz="1200" b="0" dirty="0">
                <a:solidFill>
                  <a:schemeClr val="tx1"/>
                </a:solidFill>
              </a:rPr>
              <a:t>with at least some of their caseload. </a:t>
            </a:r>
          </a:p>
          <a:p>
            <a:pPr marL="171450" indent="-171450">
              <a:lnSpc>
                <a:spcPct val="110000"/>
              </a:lnSpc>
              <a:buFont typeface="Arial" panose="020B0604020202020204" pitchFamily="34" charset="0"/>
              <a:buChar char="•"/>
            </a:pPr>
            <a:r>
              <a:rPr lang="en-AU" sz="1200" kern="1200" dirty="0">
                <a:solidFill>
                  <a:schemeClr val="tx1"/>
                </a:solidFill>
                <a:effectLst/>
                <a:latin typeface="+mn-lt"/>
                <a:ea typeface="+mn-ea"/>
                <a:cs typeface="+mn-cs"/>
              </a:rPr>
              <a:t>One of the initial concerns before implementation for providers about PBAS was the amount of administration and red tape be involved in administering it. However, whilst initially more effort was required to prepare for this change, providers felt that once consultants knew the intent of PBAS and how it functioned, together with operationalising it, this was not the case.</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AU" sz="1200" b="0" dirty="0">
                <a:solidFill>
                  <a:schemeClr val="tx1"/>
                </a:solidFill>
              </a:rPr>
              <a:t>Providers are </a:t>
            </a:r>
            <a:r>
              <a:rPr lang="en-AU" sz="1200" dirty="0">
                <a:solidFill>
                  <a:schemeClr val="tx1"/>
                </a:solidFill>
              </a:rPr>
              <a:t>broadly supportive of PBAS </a:t>
            </a:r>
            <a:r>
              <a:rPr lang="en-AU" sz="1200" b="0" dirty="0">
                <a:solidFill>
                  <a:schemeClr val="tx1"/>
                </a:solidFill>
              </a:rPr>
              <a:t>and appreciate the flexibility to add and remove participants depending on their suitability or preference in the Trial.</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AU" sz="1200" kern="1200" dirty="0">
                <a:solidFill>
                  <a:schemeClr val="tx1"/>
                </a:solidFill>
                <a:effectLst/>
                <a:ea typeface="+mn-ea"/>
                <a:cs typeface="+mn-cs"/>
              </a:rPr>
              <a:t>Trial Providers also believed the PBAS model was a good concept to be designed in employment policy.</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AU" sz="1200" b="0" dirty="0">
                <a:solidFill>
                  <a:schemeClr val="tx1"/>
                </a:solidFill>
              </a:rPr>
              <a:t>Providers are </a:t>
            </a:r>
            <a:r>
              <a:rPr lang="en-AU" sz="1200" dirty="0">
                <a:solidFill>
                  <a:schemeClr val="tx1"/>
                </a:solidFill>
              </a:rPr>
              <a:t>selective about which participants they introduce to PBAS</a:t>
            </a:r>
            <a:r>
              <a:rPr lang="en-AU" sz="1200" b="0" dirty="0">
                <a:solidFill>
                  <a:schemeClr val="tx1"/>
                </a:solidFill>
              </a:rPr>
              <a:t> – must be digitally literate and have digital access and able to manage their own requirements.</a:t>
            </a:r>
          </a:p>
          <a:p>
            <a:pPr marL="171450" marR="0" lvl="0" indent="-171450" algn="l"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lang="en-AU" sz="1200" b="0" kern="1200" dirty="0">
                <a:solidFill>
                  <a:schemeClr val="tx1"/>
                </a:solidFill>
                <a:effectLst/>
                <a:ea typeface="+mn-ea"/>
                <a:cs typeface="+mn-cs"/>
              </a:rPr>
              <a:t>Providers have used different strategies to engage job seekers with PBAS, with some Providers opting to trial all job seekers in PBAS, while others have used an assessment process to select suitable, job-ready cohorts in the first instance, others have used an opt-in approach after discussing PBAS with participants and allowing them to opt in or out. </a:t>
            </a:r>
          </a:p>
          <a:p>
            <a:pPr marL="171450" indent="-171450">
              <a:lnSpc>
                <a:spcPct val="110000"/>
              </a:lnSpc>
              <a:buFont typeface="Arial" panose="020B0604020202020204" pitchFamily="34" charset="0"/>
              <a:buChar char="•"/>
            </a:pPr>
            <a:r>
              <a:rPr lang="en-AU" sz="1200" b="0" dirty="0">
                <a:solidFill>
                  <a:schemeClr val="tx1"/>
                </a:solidFill>
              </a:rPr>
              <a:t>There are some early issues that have been identified </a:t>
            </a:r>
            <a:endParaRPr lang="en-AU" sz="1200" b="0"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sz="1200" b="0" kern="1200" dirty="0">
                <a:solidFill>
                  <a:schemeClr val="tx1"/>
                </a:solidFill>
                <a:effectLst/>
                <a:latin typeface="+mn-lt"/>
                <a:ea typeface="+mn-ea"/>
                <a:cs typeface="+mn-cs"/>
              </a:rPr>
              <a:t>These issues are being considered as part of the final design of PBAS for the new model to make the transition great for everyone </a:t>
            </a:r>
            <a:endParaRPr lang="en-AU" sz="1200" b="0" dirty="0">
              <a:solidFill>
                <a:schemeClr val="tx1"/>
              </a:solidFill>
            </a:endParaRPr>
          </a:p>
          <a:p>
            <a:pPr marL="171450" indent="-171450">
              <a:buFont typeface="Arial" panose="020B0604020202020204" pitchFamily="34" charset="0"/>
              <a:buChar char="•"/>
            </a:pPr>
            <a:r>
              <a:rPr lang="en-AU" dirty="0">
                <a:highlight>
                  <a:srgbClr val="FFFF00"/>
                </a:highlight>
              </a:rPr>
              <a:t>The Department will also undertake further consultation on the key elements of PBAS with stakeholders to ensure that the model that rolls out nationally meets job seeker needs and policy objectives.</a:t>
            </a:r>
            <a:endParaRPr lang="en-AU"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23</a:t>
            </a:fld>
            <a:endParaRPr lang="en-AU"/>
          </a:p>
        </p:txBody>
      </p:sp>
    </p:spTree>
    <p:extLst>
      <p:ext uri="{BB962C8B-B14F-4D97-AF65-F5344CB8AC3E}">
        <p14:creationId xmlns:p14="http://schemas.microsoft.com/office/powerpoint/2010/main" val="2716728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We have been testing the new model through a number of different programs and trials listed on this slide that have informed the final policy settings for the new model.</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These are in line with the recommendations of the Expert Advisory Group. </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Today, I will be focusing on the OEST, OES and NEST trials and their evaluations. </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I will also touch on the trialling of the Job Seeker Classification Instrument (JSCI) in the OEST and how we are trialling the Points Based Activation System (PBAS) in the NEST. </a:t>
            </a:r>
          </a:p>
          <a:p>
            <a:pPr marL="171450" indent="-171450">
              <a:buFont typeface="Arial" panose="020B0604020202020204" pitchFamily="34" charset="0"/>
              <a:buChar char="•"/>
            </a:pPr>
            <a:endParaRPr lang="en-AU" sz="1200" b="0" i="0" kern="1200" dirty="0">
              <a:solidFill>
                <a:schemeClr val="tx1"/>
              </a:solidFill>
              <a:effectLst/>
              <a:latin typeface="+mn-lt"/>
              <a:ea typeface="+mn-ea"/>
              <a:cs typeface="+mn-cs"/>
            </a:endParaRPr>
          </a:p>
          <a:p>
            <a:pPr marL="171450" indent="-171450">
              <a:buFont typeface="Arial" panose="020B0604020202020204" pitchFamily="34" charset="0"/>
              <a:buChar char="•"/>
            </a:pPr>
            <a:endParaRPr lang="en-AU"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sym typeface="+mn-lt"/>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sym typeface="+mn-lt"/>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sym typeface="+mn-lt"/>
            </a:endParaRPr>
          </a:p>
        </p:txBody>
      </p:sp>
      <p:sp>
        <p:nvSpPr>
          <p:cNvPr id="5" name="Footer Placeholder 4">
            <a:extLst>
              <a:ext uri="{FF2B5EF4-FFF2-40B4-BE49-F238E27FC236}">
                <a16:creationId xmlns:a16="http://schemas.microsoft.com/office/drawing/2014/main" id="{CC3B991D-AA44-4D4B-BA0B-53003EDFEEDD}"/>
              </a:ext>
            </a:extLst>
          </p:cNvPr>
          <p:cNvSpPr>
            <a:spLocks noGrp="1"/>
          </p:cNvSpPr>
          <p:nvPr>
            <p:ph type="ftr" sz="quarter" idx="4"/>
          </p:nvPr>
        </p:nvSpPr>
        <p:spPr>
          <a:xfrm>
            <a:off x="0" y="9428584"/>
            <a:ext cx="2945659" cy="498055"/>
          </a:xfrm>
        </p:spPr>
        <p:txBody>
          <a:bodyPr/>
          <a:lstStyle/>
          <a:p>
            <a:r>
              <a:rPr lang="en-AU"/>
              <a:t>​‌OFFICIAL‌​</a:t>
            </a:r>
          </a:p>
        </p:txBody>
      </p:sp>
      <p:sp>
        <p:nvSpPr>
          <p:cNvPr id="6" name="Header Placeholder 5">
            <a:extLst>
              <a:ext uri="{FF2B5EF4-FFF2-40B4-BE49-F238E27FC236}">
                <a16:creationId xmlns:a16="http://schemas.microsoft.com/office/drawing/2014/main" id="{3586D431-9560-4073-B3E6-B10E8E845499}"/>
              </a:ext>
            </a:extLst>
          </p:cNvPr>
          <p:cNvSpPr>
            <a:spLocks noGrp="1"/>
          </p:cNvSpPr>
          <p:nvPr>
            <p:ph type="hdr" sz="quarter"/>
          </p:nvPr>
        </p:nvSpPr>
        <p:spPr>
          <a:xfrm>
            <a:off x="0" y="0"/>
            <a:ext cx="2945659" cy="498056"/>
          </a:xfrm>
        </p:spPr>
        <p:txBody>
          <a:bodyPr/>
          <a:lstStyle/>
          <a:p>
            <a:endParaRPr lang="en-AU"/>
          </a:p>
        </p:txBody>
      </p:sp>
    </p:spTree>
    <p:extLst>
      <p:ext uri="{BB962C8B-B14F-4D97-AF65-F5344CB8AC3E}">
        <p14:creationId xmlns:p14="http://schemas.microsoft.com/office/powerpoint/2010/main" val="17894958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As you may already know, the OES is the Australian Government’s mainstream online employment servicing platform on the </a:t>
            </a:r>
            <a:r>
              <a:rPr lang="en-AU" sz="1200" b="0" i="0" kern="1200" dirty="0" err="1">
                <a:solidFill>
                  <a:schemeClr val="tx1"/>
                </a:solidFill>
                <a:effectLst/>
                <a:latin typeface="+mn-lt"/>
                <a:ea typeface="+mn-ea"/>
                <a:cs typeface="+mn-cs"/>
              </a:rPr>
              <a:t>jobactive</a:t>
            </a:r>
            <a:r>
              <a:rPr lang="en-AU" sz="1200" b="0" i="0" kern="1200" dirty="0">
                <a:solidFill>
                  <a:schemeClr val="tx1"/>
                </a:solidFill>
                <a:effectLst/>
                <a:latin typeface="+mn-lt"/>
                <a:ea typeface="+mn-ea"/>
                <a:cs typeface="+mn-cs"/>
              </a:rPr>
              <a:t> website. </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It was created in April 2020 in response to the increased demand for Centrelink payments and employment services because of the COVID-19 pandemic. </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OES allows job seekers to manage their job search and reporting requirements online. </a:t>
            </a:r>
          </a:p>
          <a:p>
            <a:pPr marL="171450" indent="-171450">
              <a:buFont typeface="Arial" panose="020B0604020202020204" pitchFamily="34" charset="0"/>
              <a:buChar char="•"/>
            </a:pPr>
            <a:r>
              <a:rPr lang="en-AU" sz="1200" b="0" i="0" kern="1200" dirty="0">
                <a:solidFill>
                  <a:schemeClr val="tx1"/>
                </a:solidFill>
                <a:effectLst/>
                <a:latin typeface="+mn-lt"/>
                <a:ea typeface="+mn-ea"/>
                <a:cs typeface="+mn-cs"/>
              </a:rPr>
              <a:t>The next couple of slides provides some context on online servicing before we go into the evaluation findings.</a:t>
            </a:r>
          </a:p>
          <a:p>
            <a:endParaRPr lang="en-AU" dirty="0"/>
          </a:p>
        </p:txBody>
      </p:sp>
      <p:sp>
        <p:nvSpPr>
          <p:cNvPr id="4" name="Footer Placeholder 3"/>
          <p:cNvSpPr>
            <a:spLocks noGrp="1"/>
          </p:cNvSpPr>
          <p:nvPr>
            <p:ph type="ftr" sz="quarter" idx="4"/>
          </p:nvPr>
        </p:nvSpPr>
        <p:spPr/>
        <p:txBody>
          <a:bodyPr/>
          <a:lstStyle/>
          <a:p>
            <a:r>
              <a:rPr lang="en-AU"/>
              <a:t>​‌OFFICIAL‌​</a:t>
            </a:r>
          </a:p>
        </p:txBody>
      </p:sp>
      <p:sp>
        <p:nvSpPr>
          <p:cNvPr id="5" name="Slide Number Placeholder 4"/>
          <p:cNvSpPr>
            <a:spLocks noGrp="1"/>
          </p:cNvSpPr>
          <p:nvPr>
            <p:ph type="sldNum" sz="quarter" idx="5"/>
          </p:nvPr>
        </p:nvSpPr>
        <p:spPr/>
        <p:txBody>
          <a:bodyPr/>
          <a:lstStyle/>
          <a:p>
            <a:fld id="{3BD3FCEB-6CB7-4478-9568-E9785AFEA658}" type="slidenum">
              <a:rPr lang="en-AU" smtClean="0"/>
              <a:t>4</a:t>
            </a:fld>
            <a:endParaRPr lang="en-AU"/>
          </a:p>
        </p:txBody>
      </p:sp>
    </p:spTree>
    <p:extLst>
      <p:ext uri="{BB962C8B-B14F-4D97-AF65-F5344CB8AC3E}">
        <p14:creationId xmlns:p14="http://schemas.microsoft.com/office/powerpoint/2010/main" val="752633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latin typeface="Calibri" panose="020F0502020204030204" pitchFamily="34" charset="0"/>
                <a:cs typeface="Calibri" panose="020F0502020204030204" pitchFamily="34" charset="0"/>
              </a:rPr>
              <a:t>Just quickly, I wanted to show you this slide which illustrates the caseload for online services over time since February 2020.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latin typeface="Calibri" panose="020F0502020204030204" pitchFamily="34" charset="0"/>
                <a:cs typeface="Calibri" panose="020F0502020204030204" pitchFamily="34" charset="0"/>
              </a:rPr>
              <a:t>You can see that we went from a small trial of online employment services, to a strong demand for the service as a result of COVI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latin typeface="Calibri" panose="020F0502020204030204" pitchFamily="34" charset="0"/>
                <a:cs typeface="Calibri" panose="020F0502020204030204" pitchFamily="34" charset="0"/>
              </a:rPr>
              <a:t>Since that time, the caseload has decreased as economic conditions have improved - job seekers have opted out, or are no longer eligible for the servi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latin typeface="Calibri" panose="020F0502020204030204" pitchFamily="34" charset="0"/>
                <a:cs typeface="Calibri" panose="020F0502020204030204" pitchFamily="34" charset="0"/>
              </a:rPr>
              <a:t>When I am referring to data in this graph, it does not include the caseload for the New Employment Services Tria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AU" dirty="0">
              <a:latin typeface="Calibri" panose="020F0502020204030204" pitchFamily="34" charset="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AU"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3BD3FCEB-6CB7-4478-9568-E9785AFEA658}" type="slidenum">
              <a:rPr lang="en-AU" smtClean="0"/>
              <a:t>5</a:t>
            </a:fld>
            <a:endParaRPr lang="en-AU"/>
          </a:p>
        </p:txBody>
      </p:sp>
    </p:spTree>
    <p:extLst>
      <p:ext uri="{BB962C8B-B14F-4D97-AF65-F5344CB8AC3E}">
        <p14:creationId xmlns:p14="http://schemas.microsoft.com/office/powerpoint/2010/main" val="1391578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b="0" dirty="0">
                <a:solidFill>
                  <a:srgbClr val="002D41"/>
                </a:solidFill>
              </a:rPr>
              <a:t>This slide shows a visual of the exits from online services (again this excludes NEST).</a:t>
            </a:r>
            <a:endParaRPr lang="en-AU" b="0" dirty="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cs typeface="Calibri" panose="020F0502020204030204" pitchFamily="34" charset="0"/>
              </a:rPr>
              <a:t>Most (71 per cent) of participants who left online services, have </a:t>
            </a:r>
            <a:r>
              <a:rPr lang="en-US" dirty="0"/>
              <a:t>moved into employment.</a:t>
            </a:r>
            <a:endParaRPr lang="en-AU" dirty="0">
              <a:cs typeface="Calibri" panose="020F050202020403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cs typeface="Calibri" panose="020F0502020204030204" pitchFamily="34" charset="0"/>
              </a:rPr>
              <a:t>A quarter of participants left to go to other employment services, or their eligibility chang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cs typeface="Calibri" panose="020F0502020204030204" pitchFamily="34" charset="0"/>
              </a:rPr>
              <a:t>Only a small number exited to study or for other reas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cs typeface="Calibri" panose="020F0502020204030204" pitchFamily="34" charset="0"/>
              </a:rPr>
              <a:t>We will continue looking at data, including exits in future slides regarding each of the trials. </a:t>
            </a:r>
          </a:p>
        </p:txBody>
      </p:sp>
      <p:sp>
        <p:nvSpPr>
          <p:cNvPr id="4" name="Slide Number Placeholder 3"/>
          <p:cNvSpPr>
            <a:spLocks noGrp="1"/>
          </p:cNvSpPr>
          <p:nvPr>
            <p:ph type="sldNum" sz="quarter" idx="5"/>
          </p:nvPr>
        </p:nvSpPr>
        <p:spPr/>
        <p:txBody>
          <a:bodyPr/>
          <a:lstStyle/>
          <a:p>
            <a:fld id="{3BD3FCEB-6CB7-4478-9568-E9785AFEA658}" type="slidenum">
              <a:rPr lang="en-AU" smtClean="0"/>
              <a:t>6</a:t>
            </a:fld>
            <a:endParaRPr lang="en-AU"/>
          </a:p>
        </p:txBody>
      </p:sp>
    </p:spTree>
    <p:extLst>
      <p:ext uri="{BB962C8B-B14F-4D97-AF65-F5344CB8AC3E}">
        <p14:creationId xmlns:p14="http://schemas.microsoft.com/office/powerpoint/2010/main" val="3195957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AU" dirty="0"/>
              <a:t>Now we will look at the longer term evaluation of the OEST, which s</a:t>
            </a:r>
            <a:r>
              <a:rPr lang="en-AU" sz="1200" dirty="0"/>
              <a:t>tarted on 1 July 2018 (proceeded OES).</a:t>
            </a:r>
          </a:p>
          <a:p>
            <a:pPr marL="171450" indent="-171450">
              <a:buFont typeface="Arial" panose="020B0604020202020204" pitchFamily="34" charset="0"/>
              <a:buChar char="•"/>
            </a:pPr>
            <a:r>
              <a:rPr lang="en-AU" sz="1200" dirty="0"/>
              <a:t>In the OEST we were testing whether employment services could be delivered online and the extent to which job-ready job seekers could self-manage using an online platform.</a:t>
            </a:r>
          </a:p>
          <a:p>
            <a:pPr marL="171450" indent="-171450">
              <a:buFont typeface="Arial" panose="020B0604020202020204" pitchFamily="34" charset="0"/>
              <a:buChar char="•"/>
            </a:pPr>
            <a:r>
              <a:rPr lang="en-AU" sz="1200" dirty="0"/>
              <a:t>As part of this we tested the feasibility of delivering the JSCI online and compared the consistency of JSCI scores between job seekers who completed the JSCI online with those who completed it with a provider.</a:t>
            </a:r>
          </a:p>
          <a:p>
            <a:pPr marL="171450" indent="-171450">
              <a:buFont typeface="Arial" panose="020B0604020202020204" pitchFamily="34" charset="0"/>
              <a:buChar char="•"/>
            </a:pPr>
            <a:r>
              <a:rPr lang="en-AU" sz="1200" dirty="0"/>
              <a:t>Both trials have ended, and have rolled into the OES.</a:t>
            </a:r>
          </a:p>
          <a:p>
            <a:endParaRPr lang="en-AU" dirty="0"/>
          </a:p>
        </p:txBody>
      </p:sp>
      <p:sp>
        <p:nvSpPr>
          <p:cNvPr id="4" name="Slide Number Placeholder 3"/>
          <p:cNvSpPr>
            <a:spLocks noGrp="1"/>
          </p:cNvSpPr>
          <p:nvPr>
            <p:ph type="sldNum" sz="quarter" idx="10"/>
          </p:nvPr>
        </p:nvSpPr>
        <p:spPr/>
        <p:txBody>
          <a:bodyPr/>
          <a:lstStyle/>
          <a:p>
            <a:fld id="{3BD3FCEB-6CB7-4478-9568-E9785AFEA658}" type="slidenum">
              <a:rPr lang="en-AU" smtClean="0"/>
              <a:t>7</a:t>
            </a:fld>
            <a:endParaRPr lang="en-AU"/>
          </a:p>
        </p:txBody>
      </p:sp>
    </p:spTree>
    <p:extLst>
      <p:ext uri="{BB962C8B-B14F-4D97-AF65-F5344CB8AC3E}">
        <p14:creationId xmlns:p14="http://schemas.microsoft.com/office/powerpoint/2010/main" val="22734881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lvl="0" indent="-228600">
              <a:buFont typeface="Arial" panose="020B0604020202020204" pitchFamily="34" charset="0"/>
              <a:buChar char="•"/>
            </a:pPr>
            <a:r>
              <a:rPr lang="en-AU" kern="1200" dirty="0">
                <a:solidFill>
                  <a:schemeClr val="tx1"/>
                </a:solidFill>
                <a:effectLst/>
                <a:latin typeface="+mn-lt"/>
                <a:ea typeface="+mn-ea"/>
                <a:cs typeface="+mn-cs"/>
              </a:rPr>
              <a:t>In both trials, participants generally had positive views and experiences. </a:t>
            </a:r>
          </a:p>
          <a:p>
            <a:pPr marL="228600" lvl="0" indent="-228600">
              <a:buFont typeface="Arial" panose="020B0604020202020204" pitchFamily="34" charset="0"/>
              <a:buChar char="•"/>
            </a:pPr>
            <a:r>
              <a:rPr lang="en-AU" kern="1200" dirty="0">
                <a:solidFill>
                  <a:schemeClr val="tx1"/>
                </a:solidFill>
                <a:effectLst/>
                <a:latin typeface="+mn-lt"/>
                <a:ea typeface="+mn-ea"/>
                <a:cs typeface="+mn-cs"/>
              </a:rPr>
              <a:t>Key findings of the OEST evaluation were that participants were as likely to exit from income support or employment services as comparable job seekers receiving provider servicing. </a:t>
            </a:r>
          </a:p>
          <a:p>
            <a:pPr marL="628650" lvl="1" indent="-171450">
              <a:buFont typeface="Courier New" panose="02070309020205020404" pitchFamily="49" charset="0"/>
              <a:buChar char="o"/>
            </a:pPr>
            <a:r>
              <a:rPr lang="en-AU" kern="1200" dirty="0">
                <a:solidFill>
                  <a:schemeClr val="tx1"/>
                </a:solidFill>
                <a:effectLst/>
                <a:latin typeface="+mn-lt"/>
                <a:ea typeface="+mn-ea"/>
                <a:cs typeface="+mn-cs"/>
              </a:rPr>
              <a:t>47% of both trial participants and the comparison group job seekers receiving provider servicing exited from employment services within six months of service commencement</a:t>
            </a:r>
          </a:p>
          <a:p>
            <a:pPr marL="628650" lvl="1" indent="-171450">
              <a:buFont typeface="Courier New" panose="02070309020205020404" pitchFamily="49" charset="0"/>
              <a:buChar char="o"/>
            </a:pPr>
            <a:r>
              <a:rPr lang="en-AU" kern="1200" dirty="0">
                <a:solidFill>
                  <a:schemeClr val="tx1"/>
                </a:solidFill>
                <a:effectLst/>
                <a:latin typeface="+mn-lt"/>
                <a:ea typeface="+mn-ea"/>
                <a:cs typeface="+mn-cs"/>
              </a:rPr>
              <a:t>50% of trial participants exited from income support within six months of service commencement, compared to 52% of comparison group job seekers receiving provider servicing.</a:t>
            </a:r>
          </a:p>
          <a:p>
            <a:pPr marL="628650" lvl="1" indent="-171450">
              <a:buFont typeface="Courier New" panose="02070309020205020404" pitchFamily="49" charset="0"/>
              <a:buChar char="o"/>
            </a:pPr>
            <a:r>
              <a:rPr lang="en-AU" kern="1200" dirty="0">
                <a:solidFill>
                  <a:schemeClr val="tx1"/>
                </a:solidFill>
                <a:effectLst/>
                <a:latin typeface="+mn-lt"/>
                <a:ea typeface="+mn-ea"/>
                <a:cs typeface="+mn-cs"/>
              </a:rPr>
              <a:t>91% of trial participants did not return to income support within six months following their exit date, compared to 89% of job seekers receiving provider servicing.</a:t>
            </a:r>
          </a:p>
          <a:p>
            <a:pPr marL="228600" indent="-228600">
              <a:buFont typeface="Arial" panose="020B0604020202020204" pitchFamily="34" charset="0"/>
              <a:buChar char="•"/>
            </a:pPr>
            <a:r>
              <a:rPr lang="en-AU" dirty="0"/>
              <a:t>In particular, the trial of the Online JSCI showed that:</a:t>
            </a:r>
          </a:p>
          <a:p>
            <a:pPr marL="685800" lvl="1" indent="-228600">
              <a:buFont typeface="Courier New" panose="02070309020205020404" pitchFamily="49" charset="0"/>
              <a:buChar char="o"/>
            </a:pPr>
            <a:r>
              <a:rPr lang="en-AU" dirty="0"/>
              <a:t>online JSCI responses were consistent with those who completed them with a provider</a:t>
            </a:r>
          </a:p>
          <a:p>
            <a:pPr marL="685800" lvl="1" indent="-228600">
              <a:buFont typeface="Courier New" panose="02070309020205020404" pitchFamily="49" charset="0"/>
              <a:buChar char="o"/>
            </a:pPr>
            <a:r>
              <a:rPr lang="en-AU" dirty="0"/>
              <a:t>streaming outcomes were also consistent</a:t>
            </a:r>
          </a:p>
          <a:p>
            <a:pPr marL="685800" lvl="1" indent="-228600">
              <a:buFont typeface="Courier New" panose="02070309020205020404" pitchFamily="49" charset="0"/>
              <a:buChar char="o"/>
            </a:pPr>
            <a:r>
              <a:rPr lang="en-AU" dirty="0"/>
              <a:t>online JSCI was easy to use and time efficient</a:t>
            </a:r>
          </a:p>
          <a:p>
            <a:pPr marL="228600" indent="-228600">
              <a:buFont typeface="Arial" panose="020B0604020202020204" pitchFamily="34" charset="0"/>
              <a:buChar char="•"/>
            </a:pPr>
            <a:r>
              <a:rPr lang="en-AU" dirty="0"/>
              <a:t>In addition, both trials identified some barriers to online participation – we will go into these in more detail soon.  </a:t>
            </a:r>
          </a:p>
        </p:txBody>
      </p:sp>
      <p:sp>
        <p:nvSpPr>
          <p:cNvPr id="4" name="Slide Number Placeholder 3"/>
          <p:cNvSpPr>
            <a:spLocks noGrp="1"/>
          </p:cNvSpPr>
          <p:nvPr>
            <p:ph type="sldNum" sz="quarter" idx="10"/>
          </p:nvPr>
        </p:nvSpPr>
        <p:spPr/>
        <p:txBody>
          <a:bodyPr/>
          <a:lstStyle/>
          <a:p>
            <a:fld id="{3BD3FCEB-6CB7-4478-9568-E9785AFEA658}" type="slidenum">
              <a:rPr lang="en-AU" smtClean="0"/>
              <a:t>8</a:t>
            </a:fld>
            <a:endParaRPr lang="en-AU"/>
          </a:p>
        </p:txBody>
      </p:sp>
    </p:spTree>
    <p:extLst>
      <p:ext uri="{BB962C8B-B14F-4D97-AF65-F5344CB8AC3E}">
        <p14:creationId xmlns:p14="http://schemas.microsoft.com/office/powerpoint/2010/main" val="1972986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Char char="•"/>
            </a:pPr>
            <a:r>
              <a:rPr lang="en-AU" dirty="0"/>
              <a:t>Percentages in this slide refer to OEST participants and job seekers who completed or attempted the Online JSCI.</a:t>
            </a:r>
          </a:p>
          <a:p>
            <a:pPr marL="228600" indent="-228600">
              <a:buFont typeface="Arial" panose="020B0604020202020204" pitchFamily="34" charset="0"/>
              <a:buChar char="•"/>
            </a:pPr>
            <a:r>
              <a:rPr lang="en-AU" dirty="0"/>
              <a:t>OEST:</a:t>
            </a:r>
          </a:p>
          <a:p>
            <a:pPr marL="628650" lvl="1" indent="-171450">
              <a:buFont typeface="Arial" panose="020B0604020202020204" pitchFamily="34" charset="0"/>
              <a:buChar char="•"/>
            </a:pPr>
            <a:r>
              <a:rPr lang="en-AU" sz="1200" b="1" dirty="0"/>
              <a:t>80% </a:t>
            </a:r>
            <a:r>
              <a:rPr lang="en-AU" sz="1200" dirty="0"/>
              <a:t>were satisfied with the </a:t>
            </a:r>
            <a:r>
              <a:rPr lang="en-AU" sz="1200" dirty="0" err="1"/>
              <a:t>jobactive</a:t>
            </a:r>
            <a:r>
              <a:rPr lang="en-AU" sz="1200" dirty="0"/>
              <a:t> website.</a:t>
            </a:r>
          </a:p>
          <a:p>
            <a:pPr marL="628650" lvl="1" indent="-171450">
              <a:buFont typeface="Arial" panose="020B0604020202020204" pitchFamily="34" charset="0"/>
              <a:buChar char="•"/>
            </a:pPr>
            <a:r>
              <a:rPr lang="en-AU" sz="1200" b="1" dirty="0"/>
              <a:t>78% </a:t>
            </a:r>
            <a:r>
              <a:rPr lang="en-AU" sz="1200" dirty="0"/>
              <a:t>agreed the website had the functionality and features they needed.</a:t>
            </a:r>
          </a:p>
          <a:p>
            <a:pPr marL="628650" lvl="1" indent="-171450">
              <a:buFont typeface="Arial" panose="020B0604020202020204" pitchFamily="34" charset="0"/>
              <a:buChar char="•"/>
            </a:pPr>
            <a:r>
              <a:rPr lang="en-AU" sz="1200" b="1" dirty="0"/>
              <a:t>83% </a:t>
            </a:r>
            <a:r>
              <a:rPr lang="en-AU" sz="1200" dirty="0"/>
              <a:t>found the website functions easy to use.</a:t>
            </a:r>
          </a:p>
          <a:p>
            <a:pPr marL="628650" lvl="1" indent="-171450">
              <a:buFont typeface="Arial" panose="020B0604020202020204" pitchFamily="34" charset="0"/>
              <a:buChar char="•"/>
            </a:pPr>
            <a:r>
              <a:rPr lang="en-AU" sz="1200" b="1" dirty="0"/>
              <a:t>79% </a:t>
            </a:r>
            <a:r>
              <a:rPr lang="en-AU" sz="1200" dirty="0"/>
              <a:t>thought the website was easy to navigate.</a:t>
            </a:r>
          </a:p>
          <a:p>
            <a:pPr lvl="1"/>
            <a:endParaRPr lang="en-AU" sz="1200" dirty="0"/>
          </a:p>
          <a:p>
            <a:pPr marL="228600" indent="-228600">
              <a:buFont typeface="Arial" panose="020B0604020202020204" pitchFamily="34" charset="0"/>
              <a:buChar char="•"/>
            </a:pPr>
            <a:r>
              <a:rPr lang="en-AU" dirty="0"/>
              <a:t>If we focus on the Online JSCI Trial:</a:t>
            </a:r>
          </a:p>
          <a:p>
            <a:pPr marL="628650" lvl="1" indent="-171450">
              <a:buFont typeface="Arial" panose="020B0604020202020204" pitchFamily="34" charset="0"/>
              <a:buChar char="•"/>
            </a:pPr>
            <a:r>
              <a:rPr lang="en-AU" sz="1200" b="1" dirty="0"/>
              <a:t>90% </a:t>
            </a:r>
            <a:r>
              <a:rPr lang="en-AU" sz="1200" dirty="0"/>
              <a:t>found the Online JSCI easy to use and navigate.</a:t>
            </a:r>
          </a:p>
          <a:p>
            <a:pPr marL="628650" lvl="1" indent="-171450">
              <a:buFont typeface="Arial" panose="020B0604020202020204" pitchFamily="34" charset="0"/>
              <a:buChar char="•"/>
            </a:pPr>
            <a:r>
              <a:rPr lang="en-AU" sz="1200" b="1" dirty="0"/>
              <a:t>93% </a:t>
            </a:r>
            <a:r>
              <a:rPr lang="en-AU" sz="1200" dirty="0"/>
              <a:t>thought the instructions were easy to follow.</a:t>
            </a:r>
          </a:p>
          <a:p>
            <a:pPr marL="628650" lvl="1" indent="-171450">
              <a:buFont typeface="Arial" panose="020B0604020202020204" pitchFamily="34" charset="0"/>
              <a:buChar char="•"/>
            </a:pPr>
            <a:r>
              <a:rPr lang="en-AU" sz="1200" b="1" dirty="0"/>
              <a:t>94% </a:t>
            </a:r>
            <a:r>
              <a:rPr lang="en-AU" sz="1200" dirty="0"/>
              <a:t>found the questions easy to understand.</a:t>
            </a:r>
          </a:p>
          <a:p>
            <a:pPr marL="628650" lvl="1" indent="-171450">
              <a:buFont typeface="Arial" panose="020B0604020202020204" pitchFamily="34" charset="0"/>
              <a:buChar char="•"/>
            </a:pPr>
            <a:r>
              <a:rPr lang="en-AU" sz="1200" b="1" dirty="0"/>
              <a:t>92% </a:t>
            </a:r>
            <a:r>
              <a:rPr lang="en-AU" sz="1200" dirty="0"/>
              <a:t>felt comfortable answering the questions online. </a:t>
            </a:r>
          </a:p>
          <a:p>
            <a:pPr marL="628650" lvl="1" indent="-171450">
              <a:buFont typeface="Courier New" panose="02070309020205020404" pitchFamily="49" charset="0"/>
              <a:buChar char="o"/>
            </a:pPr>
            <a:endParaRPr lang="en-AU" dirty="0"/>
          </a:p>
        </p:txBody>
      </p:sp>
      <p:sp>
        <p:nvSpPr>
          <p:cNvPr id="4" name="Slide Number Placeholder 3"/>
          <p:cNvSpPr>
            <a:spLocks noGrp="1"/>
          </p:cNvSpPr>
          <p:nvPr>
            <p:ph type="sldNum" sz="quarter" idx="10"/>
          </p:nvPr>
        </p:nvSpPr>
        <p:spPr/>
        <p:txBody>
          <a:bodyPr/>
          <a:lstStyle/>
          <a:p>
            <a:fld id="{3BD3FCEB-6CB7-4478-9568-E9785AFEA658}" type="slidenum">
              <a:rPr lang="en-AU" smtClean="0"/>
              <a:t>9</a:t>
            </a:fld>
            <a:endParaRPr lang="en-AU"/>
          </a:p>
        </p:txBody>
      </p:sp>
    </p:spTree>
    <p:extLst>
      <p:ext uri="{BB962C8B-B14F-4D97-AF65-F5344CB8AC3E}">
        <p14:creationId xmlns:p14="http://schemas.microsoft.com/office/powerpoint/2010/main" val="15637186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9.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vmlDrawing" Target="../drawings/vmlDrawing96.vml"/><Relationship Id="rId6" Type="http://schemas.openxmlformats.org/officeDocument/2006/relationships/image" Target="../media/image7.emf"/><Relationship Id="rId5" Type="http://schemas.openxmlformats.org/officeDocument/2006/relationships/oleObject" Target="../embeddings/oleObject96.bin"/><Relationship Id="rId4" Type="http://schemas.openxmlformats.org/officeDocument/2006/relationships/image" Target="../media/image8.jpeg"/></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3.xml"/><Relationship Id="rId1" Type="http://schemas.openxmlformats.org/officeDocument/2006/relationships/vmlDrawing" Target="../drawings/vmlDrawing97.vml"/><Relationship Id="rId5" Type="http://schemas.openxmlformats.org/officeDocument/2006/relationships/image" Target="../media/image3.emf"/><Relationship Id="rId4" Type="http://schemas.openxmlformats.org/officeDocument/2006/relationships/oleObject" Target="../embeddings/oleObject97.bin"/></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64.xml"/><Relationship Id="rId7" Type="http://schemas.openxmlformats.org/officeDocument/2006/relationships/image" Target="../media/image6.emf"/><Relationship Id="rId2" Type="http://schemas.openxmlformats.org/officeDocument/2006/relationships/vmlDrawing" Target="../drawings/vmlDrawing98.vml"/><Relationship Id="rId1" Type="http://schemas.openxmlformats.org/officeDocument/2006/relationships/themeOverride" Target="../theme/themeOverride40.xml"/><Relationship Id="rId6" Type="http://schemas.openxmlformats.org/officeDocument/2006/relationships/oleObject" Target="../embeddings/oleObject98.bin"/><Relationship Id="rId5" Type="http://schemas.openxmlformats.org/officeDocument/2006/relationships/slideMaster" Target="../slideMasters/slideMaster4.xml"/><Relationship Id="rId4" Type="http://schemas.openxmlformats.org/officeDocument/2006/relationships/tags" Target="../tags/tag165.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vmlDrawing" Target="../drawings/vmlDrawing99.vml"/><Relationship Id="rId1" Type="http://schemas.openxmlformats.org/officeDocument/2006/relationships/themeOverride" Target="../theme/themeOverride41.xml"/><Relationship Id="rId6" Type="http://schemas.openxmlformats.org/officeDocument/2006/relationships/image" Target="../media/image6.emf"/><Relationship Id="rId5" Type="http://schemas.openxmlformats.org/officeDocument/2006/relationships/oleObject" Target="../embeddings/oleObject99.bin"/><Relationship Id="rId4"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vmlDrawing" Target="../drawings/vmlDrawing100.vml"/><Relationship Id="rId1" Type="http://schemas.openxmlformats.org/officeDocument/2006/relationships/themeOverride" Target="../theme/themeOverride42.xml"/><Relationship Id="rId6" Type="http://schemas.openxmlformats.org/officeDocument/2006/relationships/image" Target="../media/image6.emf"/><Relationship Id="rId5" Type="http://schemas.openxmlformats.org/officeDocument/2006/relationships/oleObject" Target="../embeddings/oleObject100.bin"/><Relationship Id="rId4"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68.xml"/><Relationship Id="rId7" Type="http://schemas.openxmlformats.org/officeDocument/2006/relationships/image" Target="../media/image15.png"/><Relationship Id="rId2" Type="http://schemas.openxmlformats.org/officeDocument/2006/relationships/vmlDrawing" Target="../drawings/vmlDrawing101.vml"/><Relationship Id="rId1" Type="http://schemas.openxmlformats.org/officeDocument/2006/relationships/themeOverride" Target="../theme/themeOverride43.xml"/><Relationship Id="rId6" Type="http://schemas.openxmlformats.org/officeDocument/2006/relationships/image" Target="../media/image6.emf"/><Relationship Id="rId5" Type="http://schemas.openxmlformats.org/officeDocument/2006/relationships/oleObject" Target="../embeddings/oleObject101.bin"/><Relationship Id="rId4"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70.xml"/><Relationship Id="rId2" Type="http://schemas.openxmlformats.org/officeDocument/2006/relationships/tags" Target="../tags/tag169.xml"/><Relationship Id="rId1" Type="http://schemas.openxmlformats.org/officeDocument/2006/relationships/vmlDrawing" Target="../drawings/vmlDrawing102.vml"/><Relationship Id="rId6" Type="http://schemas.openxmlformats.org/officeDocument/2006/relationships/image" Target="../media/image6.emf"/><Relationship Id="rId5" Type="http://schemas.openxmlformats.org/officeDocument/2006/relationships/oleObject" Target="../embeddings/oleObject102.bin"/><Relationship Id="rId4"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1.xml"/><Relationship Id="rId1" Type="http://schemas.openxmlformats.org/officeDocument/2006/relationships/vmlDrawing" Target="../drawings/vmlDrawing103.vml"/><Relationship Id="rId5" Type="http://schemas.openxmlformats.org/officeDocument/2006/relationships/image" Target="../media/image6.emf"/><Relationship Id="rId4" Type="http://schemas.openxmlformats.org/officeDocument/2006/relationships/oleObject" Target="../embeddings/oleObject10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vmlDrawing" Target="../drawings/vmlDrawing104.vml"/><Relationship Id="rId5" Type="http://schemas.openxmlformats.org/officeDocument/2006/relationships/image" Target="../media/image6.emf"/><Relationship Id="rId4" Type="http://schemas.openxmlformats.org/officeDocument/2006/relationships/oleObject" Target="../embeddings/oleObject104.bin"/></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15.png"/><Relationship Id="rId2" Type="http://schemas.openxmlformats.org/officeDocument/2006/relationships/vmlDrawing" Target="../drawings/vmlDrawing105.vml"/><Relationship Id="rId1" Type="http://schemas.openxmlformats.org/officeDocument/2006/relationships/themeOverride" Target="../theme/themeOverride44.xml"/><Relationship Id="rId6" Type="http://schemas.openxmlformats.org/officeDocument/2006/relationships/image" Target="../media/image6.emf"/><Relationship Id="rId5" Type="http://schemas.openxmlformats.org/officeDocument/2006/relationships/oleObject" Target="../embeddings/oleObject105.bin"/><Relationship Id="rId4"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9.jpe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10.png"/><Relationship Id="rId2" Type="http://schemas.openxmlformats.org/officeDocument/2006/relationships/vmlDrawing" Target="../drawings/vmlDrawing106.vml"/><Relationship Id="rId1" Type="http://schemas.openxmlformats.org/officeDocument/2006/relationships/themeOverride" Target="../theme/themeOverride45.xml"/><Relationship Id="rId6" Type="http://schemas.openxmlformats.org/officeDocument/2006/relationships/image" Target="../media/image6.emf"/><Relationship Id="rId5" Type="http://schemas.openxmlformats.org/officeDocument/2006/relationships/oleObject" Target="../embeddings/oleObject106.bin"/><Relationship Id="rId4"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178.xml"/><Relationship Id="rId7" Type="http://schemas.openxmlformats.org/officeDocument/2006/relationships/image" Target="../media/image7.emf"/><Relationship Id="rId2" Type="http://schemas.openxmlformats.org/officeDocument/2006/relationships/tags" Target="../tags/tag177.xml"/><Relationship Id="rId1" Type="http://schemas.openxmlformats.org/officeDocument/2006/relationships/vmlDrawing" Target="../drawings/vmlDrawing108.vml"/><Relationship Id="rId6" Type="http://schemas.openxmlformats.org/officeDocument/2006/relationships/oleObject" Target="../embeddings/oleObject108.bin"/><Relationship Id="rId5" Type="http://schemas.openxmlformats.org/officeDocument/2006/relationships/image" Target="../media/image8.jpeg"/><Relationship Id="rId4"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9.jpeg"/><Relationship Id="rId2" Type="http://schemas.openxmlformats.org/officeDocument/2006/relationships/tags" Target="../tags/tag179.xml"/><Relationship Id="rId1" Type="http://schemas.openxmlformats.org/officeDocument/2006/relationships/vmlDrawing" Target="../drawings/vmlDrawing109.vml"/><Relationship Id="rId6" Type="http://schemas.openxmlformats.org/officeDocument/2006/relationships/image" Target="../media/image3.emf"/><Relationship Id="rId5" Type="http://schemas.openxmlformats.org/officeDocument/2006/relationships/oleObject" Target="../embeddings/oleObject109.bin"/><Relationship Id="rId4"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1.xml"/><Relationship Id="rId1" Type="http://schemas.openxmlformats.org/officeDocument/2006/relationships/vmlDrawing" Target="../drawings/vmlDrawing110.vml"/><Relationship Id="rId6" Type="http://schemas.openxmlformats.org/officeDocument/2006/relationships/image" Target="../media/image3.emf"/><Relationship Id="rId5" Type="http://schemas.openxmlformats.org/officeDocument/2006/relationships/oleObject" Target="../embeddings/oleObject110.bin"/><Relationship Id="rId4" Type="http://schemas.openxmlformats.org/officeDocument/2006/relationships/image" Target="../media/image4.jpeg"/></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2.xml"/><Relationship Id="rId1" Type="http://schemas.openxmlformats.org/officeDocument/2006/relationships/vmlDrawing" Target="../drawings/vmlDrawing111.vml"/><Relationship Id="rId6" Type="http://schemas.openxmlformats.org/officeDocument/2006/relationships/image" Target="../media/image7.emf"/><Relationship Id="rId5" Type="http://schemas.openxmlformats.org/officeDocument/2006/relationships/oleObject" Target="../embeddings/oleObject111.bin"/><Relationship Id="rId4" Type="http://schemas.openxmlformats.org/officeDocument/2006/relationships/image" Target="../media/image8.jpeg"/></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3.xml"/><Relationship Id="rId1" Type="http://schemas.openxmlformats.org/officeDocument/2006/relationships/vmlDrawing" Target="../drawings/vmlDrawing112.vml"/><Relationship Id="rId5" Type="http://schemas.openxmlformats.org/officeDocument/2006/relationships/image" Target="../media/image3.emf"/><Relationship Id="rId4" Type="http://schemas.openxmlformats.org/officeDocument/2006/relationships/oleObject" Target="../embeddings/oleObject112.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85.xml"/><Relationship Id="rId7" Type="http://schemas.openxmlformats.org/officeDocument/2006/relationships/image" Target="../media/image3.emf"/><Relationship Id="rId2" Type="http://schemas.openxmlformats.org/officeDocument/2006/relationships/tags" Target="../tags/tag184.xml"/><Relationship Id="rId1" Type="http://schemas.openxmlformats.org/officeDocument/2006/relationships/vmlDrawing" Target="../drawings/vmlDrawing113.vml"/><Relationship Id="rId6" Type="http://schemas.openxmlformats.org/officeDocument/2006/relationships/oleObject" Target="../embeddings/oleObject113.bin"/><Relationship Id="rId5" Type="http://schemas.openxmlformats.org/officeDocument/2006/relationships/image" Target="../media/image4.jpeg"/><Relationship Id="rId4"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3.emf"/><Relationship Id="rId2" Type="http://schemas.openxmlformats.org/officeDocument/2006/relationships/tags" Target="../tags/tag186.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image" Target="../media/image4.jpeg"/><Relationship Id="rId4"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3.emf"/><Relationship Id="rId2" Type="http://schemas.openxmlformats.org/officeDocument/2006/relationships/tags" Target="../tags/tag188.xml"/><Relationship Id="rId1" Type="http://schemas.openxmlformats.org/officeDocument/2006/relationships/vmlDrawing" Target="../drawings/vmlDrawing115.vml"/><Relationship Id="rId6" Type="http://schemas.openxmlformats.org/officeDocument/2006/relationships/oleObject" Target="../embeddings/oleObject115.bin"/><Relationship Id="rId5" Type="http://schemas.openxmlformats.org/officeDocument/2006/relationships/image" Target="../media/image4.jpeg"/><Relationship Id="rId4"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3.emf"/><Relationship Id="rId2" Type="http://schemas.openxmlformats.org/officeDocument/2006/relationships/tags" Target="../tags/tag190.xml"/><Relationship Id="rId1" Type="http://schemas.openxmlformats.org/officeDocument/2006/relationships/vmlDrawing" Target="../drawings/vmlDrawing116.vml"/><Relationship Id="rId6" Type="http://schemas.openxmlformats.org/officeDocument/2006/relationships/oleObject" Target="../embeddings/oleObject116.bin"/><Relationship Id="rId5" Type="http://schemas.openxmlformats.org/officeDocument/2006/relationships/image" Target="../media/image4.jpeg"/><Relationship Id="rId4"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2.xml"/><Relationship Id="rId7" Type="http://schemas.openxmlformats.org/officeDocument/2006/relationships/image" Target="../media/image3.emf"/><Relationship Id="rId2" Type="http://schemas.openxmlformats.org/officeDocument/2006/relationships/vmlDrawing" Target="../drawings/vmlDrawing117.vml"/><Relationship Id="rId1" Type="http://schemas.openxmlformats.org/officeDocument/2006/relationships/themeOverride" Target="../theme/themeOverride46.xml"/><Relationship Id="rId6" Type="http://schemas.openxmlformats.org/officeDocument/2006/relationships/oleObject" Target="../embeddings/oleObject117.bin"/><Relationship Id="rId5" Type="http://schemas.openxmlformats.org/officeDocument/2006/relationships/slideMaster" Target="../slideMasters/slideMaster5.xml"/><Relationship Id="rId4" Type="http://schemas.openxmlformats.org/officeDocument/2006/relationships/tags" Target="../tags/tag193.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4.xml"/><Relationship Id="rId7" Type="http://schemas.openxmlformats.org/officeDocument/2006/relationships/image" Target="../media/image3.emf"/><Relationship Id="rId2" Type="http://schemas.openxmlformats.org/officeDocument/2006/relationships/vmlDrawing" Target="../drawings/vmlDrawing118.vml"/><Relationship Id="rId1" Type="http://schemas.openxmlformats.org/officeDocument/2006/relationships/themeOverride" Target="../theme/themeOverride47.xml"/><Relationship Id="rId6" Type="http://schemas.openxmlformats.org/officeDocument/2006/relationships/oleObject" Target="../embeddings/oleObject118.bin"/><Relationship Id="rId5" Type="http://schemas.openxmlformats.org/officeDocument/2006/relationships/slideMaster" Target="../slideMasters/slideMaster5.xml"/><Relationship Id="rId4" Type="http://schemas.openxmlformats.org/officeDocument/2006/relationships/tags" Target="../tags/tag195.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6.xml"/><Relationship Id="rId7" Type="http://schemas.openxmlformats.org/officeDocument/2006/relationships/image" Target="../media/image3.emf"/><Relationship Id="rId2" Type="http://schemas.openxmlformats.org/officeDocument/2006/relationships/vmlDrawing" Target="../drawings/vmlDrawing119.vml"/><Relationship Id="rId1" Type="http://schemas.openxmlformats.org/officeDocument/2006/relationships/themeOverride" Target="../theme/themeOverride48.xml"/><Relationship Id="rId6" Type="http://schemas.openxmlformats.org/officeDocument/2006/relationships/oleObject" Target="../embeddings/oleObject119.bin"/><Relationship Id="rId5" Type="http://schemas.openxmlformats.org/officeDocument/2006/relationships/slideMaster" Target="../slideMasters/slideMaster5.xml"/><Relationship Id="rId4" Type="http://schemas.openxmlformats.org/officeDocument/2006/relationships/tags" Target="../tags/tag197.x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98.xml"/><Relationship Id="rId7" Type="http://schemas.openxmlformats.org/officeDocument/2006/relationships/image" Target="../media/image3.emf"/><Relationship Id="rId2" Type="http://schemas.openxmlformats.org/officeDocument/2006/relationships/vmlDrawing" Target="../drawings/vmlDrawing120.vml"/><Relationship Id="rId1" Type="http://schemas.openxmlformats.org/officeDocument/2006/relationships/themeOverride" Target="../theme/themeOverride49.xml"/><Relationship Id="rId6" Type="http://schemas.openxmlformats.org/officeDocument/2006/relationships/oleObject" Target="../embeddings/oleObject120.bin"/><Relationship Id="rId5" Type="http://schemas.openxmlformats.org/officeDocument/2006/relationships/slideMaster" Target="../slideMasters/slideMaster5.xml"/><Relationship Id="rId4" Type="http://schemas.openxmlformats.org/officeDocument/2006/relationships/tags" Target="../tags/tag199.xml"/></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00.xml"/><Relationship Id="rId7" Type="http://schemas.openxmlformats.org/officeDocument/2006/relationships/image" Target="../media/image3.emf"/><Relationship Id="rId2" Type="http://schemas.openxmlformats.org/officeDocument/2006/relationships/vmlDrawing" Target="../drawings/vmlDrawing121.vml"/><Relationship Id="rId1" Type="http://schemas.openxmlformats.org/officeDocument/2006/relationships/themeOverride" Target="../theme/themeOverride50.xml"/><Relationship Id="rId6" Type="http://schemas.openxmlformats.org/officeDocument/2006/relationships/oleObject" Target="../embeddings/oleObject121.bin"/><Relationship Id="rId5" Type="http://schemas.openxmlformats.org/officeDocument/2006/relationships/slideMaster" Target="../slideMasters/slideMaster5.xml"/><Relationship Id="rId4" Type="http://schemas.openxmlformats.org/officeDocument/2006/relationships/tags" Target="../tags/tag201.x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02.xml"/><Relationship Id="rId7" Type="http://schemas.openxmlformats.org/officeDocument/2006/relationships/image" Target="../media/image3.emf"/><Relationship Id="rId2" Type="http://schemas.openxmlformats.org/officeDocument/2006/relationships/vmlDrawing" Target="../drawings/vmlDrawing122.vml"/><Relationship Id="rId1" Type="http://schemas.openxmlformats.org/officeDocument/2006/relationships/themeOverride" Target="../theme/themeOverride51.xml"/><Relationship Id="rId6" Type="http://schemas.openxmlformats.org/officeDocument/2006/relationships/oleObject" Target="../embeddings/oleObject122.bin"/><Relationship Id="rId5" Type="http://schemas.openxmlformats.org/officeDocument/2006/relationships/slideMaster" Target="../slideMasters/slideMaster5.xml"/><Relationship Id="rId4" Type="http://schemas.openxmlformats.org/officeDocument/2006/relationships/tags" Target="../tags/tag203.xml"/></Relationships>
</file>

<file path=ppt/slideLayouts/_rels/slideLayout12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04.xml"/><Relationship Id="rId7" Type="http://schemas.openxmlformats.org/officeDocument/2006/relationships/image" Target="../media/image12.emf"/><Relationship Id="rId2" Type="http://schemas.openxmlformats.org/officeDocument/2006/relationships/vmlDrawing" Target="../drawings/vmlDrawing123.vml"/><Relationship Id="rId1" Type="http://schemas.openxmlformats.org/officeDocument/2006/relationships/themeOverride" Target="../theme/themeOverride52.xml"/><Relationship Id="rId6" Type="http://schemas.openxmlformats.org/officeDocument/2006/relationships/oleObject" Target="../embeddings/oleObject123.bin"/><Relationship Id="rId5" Type="http://schemas.openxmlformats.org/officeDocument/2006/relationships/slideMaster" Target="../slideMasters/slideMaster5.xml"/><Relationship Id="rId4" Type="http://schemas.openxmlformats.org/officeDocument/2006/relationships/tags" Target="../tags/tag205.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1.png"/><Relationship Id="rId2" Type="http://schemas.openxmlformats.org/officeDocument/2006/relationships/tags" Target="../tags/tag206.xml"/><Relationship Id="rId1" Type="http://schemas.openxmlformats.org/officeDocument/2006/relationships/vmlDrawing" Target="../drawings/vmlDrawing124.vml"/><Relationship Id="rId6" Type="http://schemas.openxmlformats.org/officeDocument/2006/relationships/image" Target="../media/image3.emf"/><Relationship Id="rId5" Type="http://schemas.openxmlformats.org/officeDocument/2006/relationships/oleObject" Target="../embeddings/oleObject124.bin"/><Relationship Id="rId4"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8.xml"/><Relationship Id="rId7" Type="http://schemas.openxmlformats.org/officeDocument/2006/relationships/image" Target="../media/image3.emf"/><Relationship Id="rId2" Type="http://schemas.openxmlformats.org/officeDocument/2006/relationships/vmlDrawing" Target="../drawings/vmlDrawing125.vml"/><Relationship Id="rId1" Type="http://schemas.openxmlformats.org/officeDocument/2006/relationships/themeOverride" Target="../theme/themeOverride53.xml"/><Relationship Id="rId6" Type="http://schemas.openxmlformats.org/officeDocument/2006/relationships/oleObject" Target="../embeddings/oleObject125.bin"/><Relationship Id="rId5" Type="http://schemas.openxmlformats.org/officeDocument/2006/relationships/slideMaster" Target="../slideMasters/slideMaster5.xml"/><Relationship Id="rId4" Type="http://schemas.openxmlformats.org/officeDocument/2006/relationships/tags" Target="../tags/tag209.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6.xml"/><Relationship Id="rId7" Type="http://schemas.openxmlformats.org/officeDocument/2006/relationships/image" Target="../media/image3.emf"/><Relationship Id="rId2" Type="http://schemas.openxmlformats.org/officeDocument/2006/relationships/vmlDrawing" Target="../drawings/vmlDrawing9.vml"/><Relationship Id="rId1" Type="http://schemas.openxmlformats.org/officeDocument/2006/relationships/themeOverride" Target="../theme/themeOverride2.xml"/><Relationship Id="rId6" Type="http://schemas.openxmlformats.org/officeDocument/2006/relationships/oleObject" Target="../embeddings/oleObject9.bin"/><Relationship Id="rId5" Type="http://schemas.openxmlformats.org/officeDocument/2006/relationships/slideMaster" Target="../slideMasters/slideMaster3.xml"/><Relationship Id="rId4" Type="http://schemas.openxmlformats.org/officeDocument/2006/relationships/tags" Target="../tags/tag17.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211.xml"/><Relationship Id="rId7" Type="http://schemas.openxmlformats.org/officeDocument/2006/relationships/image" Target="../media/image11.png"/><Relationship Id="rId2" Type="http://schemas.openxmlformats.org/officeDocument/2006/relationships/tags" Target="../tags/tag210.xml"/><Relationship Id="rId1" Type="http://schemas.openxmlformats.org/officeDocument/2006/relationships/vmlDrawing" Target="../drawings/vmlDrawing126.vml"/><Relationship Id="rId6" Type="http://schemas.openxmlformats.org/officeDocument/2006/relationships/image" Target="../media/image3.emf"/><Relationship Id="rId5" Type="http://schemas.openxmlformats.org/officeDocument/2006/relationships/oleObject" Target="../embeddings/oleObject126.bin"/><Relationship Id="rId4"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12.xml"/><Relationship Id="rId7" Type="http://schemas.openxmlformats.org/officeDocument/2006/relationships/image" Target="../media/image3.emf"/><Relationship Id="rId2" Type="http://schemas.openxmlformats.org/officeDocument/2006/relationships/vmlDrawing" Target="../drawings/vmlDrawing127.vml"/><Relationship Id="rId1" Type="http://schemas.openxmlformats.org/officeDocument/2006/relationships/themeOverride" Target="../theme/themeOverride54.xml"/><Relationship Id="rId6" Type="http://schemas.openxmlformats.org/officeDocument/2006/relationships/oleObject" Target="../embeddings/oleObject127.bin"/><Relationship Id="rId5" Type="http://schemas.openxmlformats.org/officeDocument/2006/relationships/slideMaster" Target="../slideMasters/slideMaster5.xml"/><Relationship Id="rId4" Type="http://schemas.openxmlformats.org/officeDocument/2006/relationships/tags" Target="../tags/tag213.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png"/><Relationship Id="rId2" Type="http://schemas.openxmlformats.org/officeDocument/2006/relationships/tags" Target="../tags/tag214.xml"/><Relationship Id="rId1" Type="http://schemas.openxmlformats.org/officeDocument/2006/relationships/vmlDrawing" Target="../drawings/vmlDrawing128.vml"/><Relationship Id="rId6" Type="http://schemas.openxmlformats.org/officeDocument/2006/relationships/image" Target="../media/image3.emf"/><Relationship Id="rId5" Type="http://schemas.openxmlformats.org/officeDocument/2006/relationships/oleObject" Target="../embeddings/oleObject128.bin"/><Relationship Id="rId4"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16.xml"/><Relationship Id="rId7" Type="http://schemas.openxmlformats.org/officeDocument/2006/relationships/image" Target="../media/image3.emf"/><Relationship Id="rId2" Type="http://schemas.openxmlformats.org/officeDocument/2006/relationships/vmlDrawing" Target="../drawings/vmlDrawing129.vml"/><Relationship Id="rId1" Type="http://schemas.openxmlformats.org/officeDocument/2006/relationships/themeOverride" Target="../theme/themeOverride55.xml"/><Relationship Id="rId6" Type="http://schemas.openxmlformats.org/officeDocument/2006/relationships/oleObject" Target="../embeddings/oleObject129.bin"/><Relationship Id="rId5" Type="http://schemas.openxmlformats.org/officeDocument/2006/relationships/slideMaster" Target="../slideMasters/slideMaster5.xml"/><Relationship Id="rId4" Type="http://schemas.openxmlformats.org/officeDocument/2006/relationships/tags" Target="../tags/tag217.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11.png"/><Relationship Id="rId2" Type="http://schemas.openxmlformats.org/officeDocument/2006/relationships/tags" Target="../tags/tag218.xml"/><Relationship Id="rId1" Type="http://schemas.openxmlformats.org/officeDocument/2006/relationships/vmlDrawing" Target="../drawings/vmlDrawing130.vml"/><Relationship Id="rId6" Type="http://schemas.openxmlformats.org/officeDocument/2006/relationships/image" Target="../media/image3.emf"/><Relationship Id="rId5" Type="http://schemas.openxmlformats.org/officeDocument/2006/relationships/oleObject" Target="../embeddings/oleObject130.bin"/><Relationship Id="rId4"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20.xml"/><Relationship Id="rId7" Type="http://schemas.openxmlformats.org/officeDocument/2006/relationships/image" Target="../media/image3.emf"/><Relationship Id="rId2" Type="http://schemas.openxmlformats.org/officeDocument/2006/relationships/vmlDrawing" Target="../drawings/vmlDrawing131.vml"/><Relationship Id="rId1" Type="http://schemas.openxmlformats.org/officeDocument/2006/relationships/themeOverride" Target="../theme/themeOverride56.xml"/><Relationship Id="rId6" Type="http://schemas.openxmlformats.org/officeDocument/2006/relationships/oleObject" Target="../embeddings/oleObject131.bin"/><Relationship Id="rId5" Type="http://schemas.openxmlformats.org/officeDocument/2006/relationships/slideMaster" Target="../slideMasters/slideMaster5.xml"/><Relationship Id="rId4" Type="http://schemas.openxmlformats.org/officeDocument/2006/relationships/tags" Target="../tags/tag221.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3.emf"/><Relationship Id="rId2" Type="http://schemas.openxmlformats.org/officeDocument/2006/relationships/tags" Target="../tags/tag222.xml"/><Relationship Id="rId1" Type="http://schemas.openxmlformats.org/officeDocument/2006/relationships/vmlDrawing" Target="../drawings/vmlDrawing132.vml"/><Relationship Id="rId6" Type="http://schemas.openxmlformats.org/officeDocument/2006/relationships/oleObject" Target="../embeddings/oleObject132.bin"/><Relationship Id="rId5" Type="http://schemas.openxmlformats.org/officeDocument/2006/relationships/image" Target="../media/image4.jpeg"/><Relationship Id="rId4"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vmlDrawing" Target="../drawings/vmlDrawing133.v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133.bin"/></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226.xml"/><Relationship Id="rId2" Type="http://schemas.openxmlformats.org/officeDocument/2006/relationships/tags" Target="../tags/tag225.xml"/><Relationship Id="rId1" Type="http://schemas.openxmlformats.org/officeDocument/2006/relationships/vmlDrawing" Target="../drawings/vmlDrawing134.vml"/><Relationship Id="rId6" Type="http://schemas.openxmlformats.org/officeDocument/2006/relationships/image" Target="../media/image3.emf"/><Relationship Id="rId5" Type="http://schemas.openxmlformats.org/officeDocument/2006/relationships/oleObject" Target="../embeddings/oleObject134.bin"/><Relationship Id="rId4"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image" Target="../media/image10.png"/><Relationship Id="rId2" Type="http://schemas.openxmlformats.org/officeDocument/2006/relationships/vmlDrawing" Target="../drawings/vmlDrawing135.vml"/><Relationship Id="rId1" Type="http://schemas.openxmlformats.org/officeDocument/2006/relationships/themeOverride" Target="../theme/themeOverride57.xml"/><Relationship Id="rId6" Type="http://schemas.openxmlformats.org/officeDocument/2006/relationships/image" Target="../media/image3.emf"/><Relationship Id="rId5" Type="http://schemas.openxmlformats.org/officeDocument/2006/relationships/oleObject" Target="../embeddings/oleObject135.bin"/><Relationship Id="rId4"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228.xml"/><Relationship Id="rId2" Type="http://schemas.openxmlformats.org/officeDocument/2006/relationships/vmlDrawing" Target="../drawings/vmlDrawing136.vml"/><Relationship Id="rId1" Type="http://schemas.openxmlformats.org/officeDocument/2006/relationships/themeOverride" Target="../theme/themeOverride58.xml"/><Relationship Id="rId6" Type="http://schemas.openxmlformats.org/officeDocument/2006/relationships/image" Target="../media/image3.emf"/><Relationship Id="rId5" Type="http://schemas.openxmlformats.org/officeDocument/2006/relationships/oleObject" Target="../embeddings/oleObject136.bin"/><Relationship Id="rId4"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9.xml"/><Relationship Id="rId1" Type="http://schemas.openxmlformats.org/officeDocument/2006/relationships/vmlDrawing" Target="../drawings/vmlDrawing137.vml"/><Relationship Id="rId5" Type="http://schemas.openxmlformats.org/officeDocument/2006/relationships/image" Target="../media/image3.emf"/><Relationship Id="rId4" Type="http://schemas.openxmlformats.org/officeDocument/2006/relationships/oleObject" Target="../embeddings/oleObject137.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0.xml"/><Relationship Id="rId1" Type="http://schemas.openxmlformats.org/officeDocument/2006/relationships/vmlDrawing" Target="../drawings/vmlDrawing138.vml"/><Relationship Id="rId6" Type="http://schemas.openxmlformats.org/officeDocument/2006/relationships/image" Target="../media/image3.emf"/><Relationship Id="rId5" Type="http://schemas.openxmlformats.org/officeDocument/2006/relationships/oleObject" Target="../embeddings/oleObject138.bin"/><Relationship Id="rId4" Type="http://schemas.openxmlformats.org/officeDocument/2006/relationships/image" Target="../media/image4.jpeg"/></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1.xml"/><Relationship Id="rId1" Type="http://schemas.openxmlformats.org/officeDocument/2006/relationships/vmlDrawing" Target="../drawings/vmlDrawing139.vml"/><Relationship Id="rId6" Type="http://schemas.openxmlformats.org/officeDocument/2006/relationships/image" Target="../media/image7.emf"/><Relationship Id="rId5" Type="http://schemas.openxmlformats.org/officeDocument/2006/relationships/oleObject" Target="../embeddings/oleObject139.bin"/><Relationship Id="rId4" Type="http://schemas.openxmlformats.org/officeDocument/2006/relationships/image" Target="../media/image8.jpeg"/></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2.xml"/><Relationship Id="rId1" Type="http://schemas.openxmlformats.org/officeDocument/2006/relationships/vmlDrawing" Target="../drawings/vmlDrawing140.vml"/><Relationship Id="rId5" Type="http://schemas.openxmlformats.org/officeDocument/2006/relationships/image" Target="../media/image3.emf"/><Relationship Id="rId4" Type="http://schemas.openxmlformats.org/officeDocument/2006/relationships/oleObject" Target="../embeddings/oleObject140.bin"/></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233.xml"/><Relationship Id="rId7" Type="http://schemas.openxmlformats.org/officeDocument/2006/relationships/image" Target="../media/image6.emf"/><Relationship Id="rId2" Type="http://schemas.openxmlformats.org/officeDocument/2006/relationships/vmlDrawing" Target="../drawings/vmlDrawing141.vml"/><Relationship Id="rId1" Type="http://schemas.openxmlformats.org/officeDocument/2006/relationships/themeOverride" Target="../theme/themeOverride59.xml"/><Relationship Id="rId6" Type="http://schemas.openxmlformats.org/officeDocument/2006/relationships/oleObject" Target="../embeddings/oleObject141.bin"/><Relationship Id="rId5" Type="http://schemas.openxmlformats.org/officeDocument/2006/relationships/slideMaster" Target="../slideMasters/slideMaster5.xml"/><Relationship Id="rId4" Type="http://schemas.openxmlformats.org/officeDocument/2006/relationships/tags" Target="../tags/tag234.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35.xml"/><Relationship Id="rId2" Type="http://schemas.openxmlformats.org/officeDocument/2006/relationships/vmlDrawing" Target="../drawings/vmlDrawing142.vml"/><Relationship Id="rId1" Type="http://schemas.openxmlformats.org/officeDocument/2006/relationships/themeOverride" Target="../theme/themeOverride60.xml"/><Relationship Id="rId6" Type="http://schemas.openxmlformats.org/officeDocument/2006/relationships/image" Target="../media/image6.emf"/><Relationship Id="rId5" Type="http://schemas.openxmlformats.org/officeDocument/2006/relationships/oleObject" Target="../embeddings/oleObject142.bin"/><Relationship Id="rId4"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36.xml"/><Relationship Id="rId2" Type="http://schemas.openxmlformats.org/officeDocument/2006/relationships/vmlDrawing" Target="../drawings/vmlDrawing143.vml"/><Relationship Id="rId1" Type="http://schemas.openxmlformats.org/officeDocument/2006/relationships/themeOverride" Target="../theme/themeOverride61.xml"/><Relationship Id="rId6" Type="http://schemas.openxmlformats.org/officeDocument/2006/relationships/image" Target="../media/image6.emf"/><Relationship Id="rId5" Type="http://schemas.openxmlformats.org/officeDocument/2006/relationships/oleObject" Target="../embeddings/oleObject143.bin"/><Relationship Id="rId4"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image" Target="../media/image15.png"/><Relationship Id="rId2" Type="http://schemas.openxmlformats.org/officeDocument/2006/relationships/vmlDrawing" Target="../drawings/vmlDrawing144.vml"/><Relationship Id="rId1" Type="http://schemas.openxmlformats.org/officeDocument/2006/relationships/themeOverride" Target="../theme/themeOverride62.xml"/><Relationship Id="rId6" Type="http://schemas.openxmlformats.org/officeDocument/2006/relationships/image" Target="../media/image6.emf"/><Relationship Id="rId5" Type="http://schemas.openxmlformats.org/officeDocument/2006/relationships/oleObject" Target="../embeddings/oleObject144.bin"/><Relationship Id="rId4"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239.xml"/><Relationship Id="rId2" Type="http://schemas.openxmlformats.org/officeDocument/2006/relationships/tags" Target="../tags/tag238.xml"/><Relationship Id="rId1" Type="http://schemas.openxmlformats.org/officeDocument/2006/relationships/vmlDrawing" Target="../drawings/vmlDrawing145.vml"/><Relationship Id="rId6" Type="http://schemas.openxmlformats.org/officeDocument/2006/relationships/image" Target="../media/image6.emf"/><Relationship Id="rId5" Type="http://schemas.openxmlformats.org/officeDocument/2006/relationships/oleObject" Target="../embeddings/oleObject145.bin"/><Relationship Id="rId4"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20.xml"/><Relationship Id="rId7" Type="http://schemas.openxmlformats.org/officeDocument/2006/relationships/image" Target="../media/image12.emf"/><Relationship Id="rId2" Type="http://schemas.openxmlformats.org/officeDocument/2006/relationships/vmlDrawing" Target="../drawings/vmlDrawing11.vml"/><Relationship Id="rId1" Type="http://schemas.openxmlformats.org/officeDocument/2006/relationships/themeOverride" Target="../theme/themeOverride3.xml"/><Relationship Id="rId6" Type="http://schemas.openxmlformats.org/officeDocument/2006/relationships/oleObject" Target="../embeddings/oleObject11.bin"/><Relationship Id="rId5" Type="http://schemas.openxmlformats.org/officeDocument/2006/relationships/slideMaster" Target="../slideMasters/slideMaster3.xml"/><Relationship Id="rId4" Type="http://schemas.openxmlformats.org/officeDocument/2006/relationships/tags" Target="../tags/tag2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0.xml"/><Relationship Id="rId1" Type="http://schemas.openxmlformats.org/officeDocument/2006/relationships/vmlDrawing" Target="../drawings/vmlDrawing146.vml"/><Relationship Id="rId5" Type="http://schemas.openxmlformats.org/officeDocument/2006/relationships/image" Target="../media/image6.emf"/><Relationship Id="rId4" Type="http://schemas.openxmlformats.org/officeDocument/2006/relationships/oleObject" Target="../embeddings/oleObject14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1.xml"/><Relationship Id="rId1" Type="http://schemas.openxmlformats.org/officeDocument/2006/relationships/vmlDrawing" Target="../drawings/vmlDrawing147.vml"/><Relationship Id="rId5" Type="http://schemas.openxmlformats.org/officeDocument/2006/relationships/image" Target="../media/image6.emf"/><Relationship Id="rId4" Type="http://schemas.openxmlformats.org/officeDocument/2006/relationships/oleObject" Target="../embeddings/oleObject147.bin"/></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242.xml"/><Relationship Id="rId7" Type="http://schemas.openxmlformats.org/officeDocument/2006/relationships/image" Target="../media/image15.png"/><Relationship Id="rId2" Type="http://schemas.openxmlformats.org/officeDocument/2006/relationships/vmlDrawing" Target="../drawings/vmlDrawing148.vml"/><Relationship Id="rId1" Type="http://schemas.openxmlformats.org/officeDocument/2006/relationships/themeOverride" Target="../theme/themeOverride63.xml"/><Relationship Id="rId6" Type="http://schemas.openxmlformats.org/officeDocument/2006/relationships/image" Target="../media/image6.emf"/><Relationship Id="rId5" Type="http://schemas.openxmlformats.org/officeDocument/2006/relationships/oleObject" Target="../embeddings/oleObject148.bin"/><Relationship Id="rId4"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243.xml"/><Relationship Id="rId7" Type="http://schemas.openxmlformats.org/officeDocument/2006/relationships/image" Target="../media/image10.png"/><Relationship Id="rId2" Type="http://schemas.openxmlformats.org/officeDocument/2006/relationships/vmlDrawing" Target="../drawings/vmlDrawing149.vml"/><Relationship Id="rId1" Type="http://schemas.openxmlformats.org/officeDocument/2006/relationships/themeOverride" Target="../theme/themeOverride64.xml"/><Relationship Id="rId6" Type="http://schemas.openxmlformats.org/officeDocument/2006/relationships/image" Target="../media/image6.emf"/><Relationship Id="rId5" Type="http://schemas.openxmlformats.org/officeDocument/2006/relationships/oleObject" Target="../embeddings/oleObject149.bin"/><Relationship Id="rId4"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245.xml"/><Relationship Id="rId7" Type="http://schemas.openxmlformats.org/officeDocument/2006/relationships/image" Target="../media/image3.emf"/><Relationship Id="rId2" Type="http://schemas.openxmlformats.org/officeDocument/2006/relationships/tags" Target="../tags/tag244.xml"/><Relationship Id="rId1" Type="http://schemas.openxmlformats.org/officeDocument/2006/relationships/vmlDrawing" Target="../drawings/vmlDrawing150.vml"/><Relationship Id="rId6" Type="http://schemas.openxmlformats.org/officeDocument/2006/relationships/oleObject" Target="../embeddings/oleObject150.bin"/><Relationship Id="rId5" Type="http://schemas.openxmlformats.org/officeDocument/2006/relationships/image" Target="../media/image4.jpeg"/><Relationship Id="rId4"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247.xml"/><Relationship Id="rId7" Type="http://schemas.openxmlformats.org/officeDocument/2006/relationships/image" Target="../media/image3.emf"/><Relationship Id="rId2" Type="http://schemas.openxmlformats.org/officeDocument/2006/relationships/tags" Target="../tags/tag246.xml"/><Relationship Id="rId1" Type="http://schemas.openxmlformats.org/officeDocument/2006/relationships/vmlDrawing" Target="../drawings/vmlDrawing151.vml"/><Relationship Id="rId6" Type="http://schemas.openxmlformats.org/officeDocument/2006/relationships/oleObject" Target="../embeddings/oleObject151.bin"/><Relationship Id="rId5" Type="http://schemas.openxmlformats.org/officeDocument/2006/relationships/image" Target="../media/image4.jpeg"/><Relationship Id="rId4"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1.png"/><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3.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4.xml"/><Relationship Id="rId7" Type="http://schemas.openxmlformats.org/officeDocument/2006/relationships/image" Target="../media/image3.emf"/><Relationship Id="rId2" Type="http://schemas.openxmlformats.org/officeDocument/2006/relationships/vmlDrawing" Target="../drawings/vmlDrawing13.vml"/><Relationship Id="rId1" Type="http://schemas.openxmlformats.org/officeDocument/2006/relationships/themeOverride" Target="../theme/themeOverride4.xml"/><Relationship Id="rId6" Type="http://schemas.openxmlformats.org/officeDocument/2006/relationships/oleObject" Target="../embeddings/oleObject13.bin"/><Relationship Id="rId5" Type="http://schemas.openxmlformats.org/officeDocument/2006/relationships/slideMaster" Target="../slideMasters/slideMaster3.xml"/><Relationship Id="rId4" Type="http://schemas.openxmlformats.org/officeDocument/2006/relationships/tags" Target="../tags/tag25.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vmlDrawing" Target="../drawings/vmlDrawing15.vml"/><Relationship Id="rId1" Type="http://schemas.openxmlformats.org/officeDocument/2006/relationships/themeOverride" Target="../theme/themeOverride5.x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2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vmlDrawing" Target="../drawings/vmlDrawing17.vml"/><Relationship Id="rId1" Type="http://schemas.openxmlformats.org/officeDocument/2006/relationships/themeOverride" Target="../theme/themeOverride6.xml"/><Relationship Id="rId6" Type="http://schemas.openxmlformats.org/officeDocument/2006/relationships/oleObject" Target="../embeddings/oleObject17.bin"/><Relationship Id="rId5" Type="http://schemas.openxmlformats.org/officeDocument/2006/relationships/slideMaster" Target="../slideMasters/slideMaster3.xml"/><Relationship Id="rId4" Type="http://schemas.openxmlformats.org/officeDocument/2006/relationships/tags" Target="../tags/tag3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vmlDrawing" Target="../drawings/vmlDrawing21.vml"/><Relationship Id="rId1" Type="http://schemas.openxmlformats.org/officeDocument/2006/relationships/themeOverride" Target="../theme/themeOverride7.xml"/><Relationship Id="rId6" Type="http://schemas.openxmlformats.org/officeDocument/2006/relationships/image" Target="../media/image3.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image" Target="../media/image4.jpe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23.vml"/><Relationship Id="rId6" Type="http://schemas.openxmlformats.org/officeDocument/2006/relationships/image" Target="../media/image7.emf"/><Relationship Id="rId5" Type="http://schemas.openxmlformats.org/officeDocument/2006/relationships/oleObject" Target="../embeddings/oleObject23.bin"/><Relationship Id="rId4" Type="http://schemas.openxmlformats.org/officeDocument/2006/relationships/image" Target="../media/image8.jpe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image" Target="../media/image7.emf"/><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3.emf"/><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4.jpeg"/><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3.emf"/><Relationship Id="rId2" Type="http://schemas.openxmlformats.org/officeDocument/2006/relationships/tags" Target="../tags/tag46.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image" Target="../media/image4.jpeg"/><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51.xml"/><Relationship Id="rId7" Type="http://schemas.openxmlformats.org/officeDocument/2006/relationships/image" Target="../media/image3.emf"/><Relationship Id="rId2" Type="http://schemas.openxmlformats.org/officeDocument/2006/relationships/tags" Target="../tags/tag50.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image" Target="../media/image4.jpeg"/><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3.emf"/><Relationship Id="rId2" Type="http://schemas.openxmlformats.org/officeDocument/2006/relationships/tags" Target="../tags/tag52.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image" Target="../media/image4.jpeg"/><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4.xml"/><Relationship Id="rId7" Type="http://schemas.openxmlformats.org/officeDocument/2006/relationships/image" Target="../media/image3.emf"/><Relationship Id="rId2" Type="http://schemas.openxmlformats.org/officeDocument/2006/relationships/vmlDrawing" Target="../drawings/vmlDrawing31.vml"/><Relationship Id="rId1" Type="http://schemas.openxmlformats.org/officeDocument/2006/relationships/themeOverride" Target="../theme/themeOverride8.xml"/><Relationship Id="rId6" Type="http://schemas.openxmlformats.org/officeDocument/2006/relationships/oleObject" Target="../embeddings/oleObject31.bin"/><Relationship Id="rId5" Type="http://schemas.openxmlformats.org/officeDocument/2006/relationships/slideMaster" Target="../slideMasters/slideMaster3.xml"/><Relationship Id="rId4" Type="http://schemas.openxmlformats.org/officeDocument/2006/relationships/tags" Target="../tags/tag55.xml"/></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6.xml"/><Relationship Id="rId7" Type="http://schemas.openxmlformats.org/officeDocument/2006/relationships/image" Target="../media/image3.emf"/><Relationship Id="rId2" Type="http://schemas.openxmlformats.org/officeDocument/2006/relationships/vmlDrawing" Target="../drawings/vmlDrawing32.vml"/><Relationship Id="rId1" Type="http://schemas.openxmlformats.org/officeDocument/2006/relationships/themeOverride" Target="../theme/themeOverride9.xml"/><Relationship Id="rId6" Type="http://schemas.openxmlformats.org/officeDocument/2006/relationships/oleObject" Target="../embeddings/oleObject32.bin"/><Relationship Id="rId5" Type="http://schemas.openxmlformats.org/officeDocument/2006/relationships/slideMaster" Target="../slideMasters/slideMaster3.xml"/><Relationship Id="rId4" Type="http://schemas.openxmlformats.org/officeDocument/2006/relationships/tags" Target="../tags/tag57.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8.xml"/><Relationship Id="rId7" Type="http://schemas.openxmlformats.org/officeDocument/2006/relationships/image" Target="../media/image3.emf"/><Relationship Id="rId2" Type="http://schemas.openxmlformats.org/officeDocument/2006/relationships/vmlDrawing" Target="../drawings/vmlDrawing33.vml"/><Relationship Id="rId1" Type="http://schemas.openxmlformats.org/officeDocument/2006/relationships/themeOverride" Target="../theme/themeOverride10.x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59.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0.xml"/><Relationship Id="rId7" Type="http://schemas.openxmlformats.org/officeDocument/2006/relationships/image" Target="../media/image3.emf"/><Relationship Id="rId2" Type="http://schemas.openxmlformats.org/officeDocument/2006/relationships/vmlDrawing" Target="../drawings/vmlDrawing34.vml"/><Relationship Id="rId1" Type="http://schemas.openxmlformats.org/officeDocument/2006/relationships/themeOverride" Target="../theme/themeOverride11.xml"/><Relationship Id="rId6" Type="http://schemas.openxmlformats.org/officeDocument/2006/relationships/oleObject" Target="../embeddings/oleObject34.bin"/><Relationship Id="rId5" Type="http://schemas.openxmlformats.org/officeDocument/2006/relationships/slideMaster" Target="../slideMasters/slideMaster3.xml"/><Relationship Id="rId4" Type="http://schemas.openxmlformats.org/officeDocument/2006/relationships/tags" Target="../tags/tag6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2.xml"/><Relationship Id="rId7" Type="http://schemas.openxmlformats.org/officeDocument/2006/relationships/image" Target="../media/image3.emf"/><Relationship Id="rId2" Type="http://schemas.openxmlformats.org/officeDocument/2006/relationships/vmlDrawing" Target="../drawings/vmlDrawing35.vml"/><Relationship Id="rId1" Type="http://schemas.openxmlformats.org/officeDocument/2006/relationships/themeOverride" Target="../theme/themeOverride12.xml"/><Relationship Id="rId6" Type="http://schemas.openxmlformats.org/officeDocument/2006/relationships/oleObject" Target="../embeddings/oleObject35.bin"/><Relationship Id="rId5" Type="http://schemas.openxmlformats.org/officeDocument/2006/relationships/slideMaster" Target="../slideMasters/slideMaster3.xml"/><Relationship Id="rId4" Type="http://schemas.openxmlformats.org/officeDocument/2006/relationships/tags" Target="../tags/tag6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4.jpe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4.xml"/><Relationship Id="rId7" Type="http://schemas.openxmlformats.org/officeDocument/2006/relationships/image" Target="../media/image3.emf"/><Relationship Id="rId2" Type="http://schemas.openxmlformats.org/officeDocument/2006/relationships/vmlDrawing" Target="../drawings/vmlDrawing36.vml"/><Relationship Id="rId1" Type="http://schemas.openxmlformats.org/officeDocument/2006/relationships/themeOverride" Target="../theme/themeOverride13.xml"/><Relationship Id="rId6" Type="http://schemas.openxmlformats.org/officeDocument/2006/relationships/oleObject" Target="../embeddings/oleObject36.bin"/><Relationship Id="rId5" Type="http://schemas.openxmlformats.org/officeDocument/2006/relationships/slideMaster" Target="../slideMasters/slideMaster3.xml"/><Relationship Id="rId4" Type="http://schemas.openxmlformats.org/officeDocument/2006/relationships/tags" Target="../tags/tag65.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66.xml"/><Relationship Id="rId7" Type="http://schemas.openxmlformats.org/officeDocument/2006/relationships/image" Target="../media/image12.emf"/><Relationship Id="rId2" Type="http://schemas.openxmlformats.org/officeDocument/2006/relationships/vmlDrawing" Target="../drawings/vmlDrawing37.vml"/><Relationship Id="rId1" Type="http://schemas.openxmlformats.org/officeDocument/2006/relationships/themeOverride" Target="../theme/themeOverride14.xml"/><Relationship Id="rId6" Type="http://schemas.openxmlformats.org/officeDocument/2006/relationships/oleObject" Target="../embeddings/oleObject37.bin"/><Relationship Id="rId5" Type="http://schemas.openxmlformats.org/officeDocument/2006/relationships/slideMaster" Target="../slideMasters/slideMaster3.xml"/><Relationship Id="rId4" Type="http://schemas.openxmlformats.org/officeDocument/2006/relationships/tags" Target="../tags/tag67.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1.png"/><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image" Target="../media/image3.emf"/><Relationship Id="rId5" Type="http://schemas.openxmlformats.org/officeDocument/2006/relationships/oleObject" Target="../embeddings/oleObject38.bin"/><Relationship Id="rId4"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70.xml"/><Relationship Id="rId7" Type="http://schemas.openxmlformats.org/officeDocument/2006/relationships/image" Target="../media/image3.emf"/><Relationship Id="rId2" Type="http://schemas.openxmlformats.org/officeDocument/2006/relationships/vmlDrawing" Target="../drawings/vmlDrawing39.vml"/><Relationship Id="rId1" Type="http://schemas.openxmlformats.org/officeDocument/2006/relationships/themeOverride" Target="../theme/themeOverride15.xml"/><Relationship Id="rId6" Type="http://schemas.openxmlformats.org/officeDocument/2006/relationships/oleObject" Target="../embeddings/oleObject39.bin"/><Relationship Id="rId5" Type="http://schemas.openxmlformats.org/officeDocument/2006/relationships/slideMaster" Target="../slideMasters/slideMaster3.xml"/><Relationship Id="rId4" Type="http://schemas.openxmlformats.org/officeDocument/2006/relationships/tags" Target="../tags/tag7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1.png"/><Relationship Id="rId2" Type="http://schemas.openxmlformats.org/officeDocument/2006/relationships/tags" Target="../tags/tag72.xml"/><Relationship Id="rId1" Type="http://schemas.openxmlformats.org/officeDocument/2006/relationships/vmlDrawing" Target="../drawings/vmlDrawing40.vml"/><Relationship Id="rId6" Type="http://schemas.openxmlformats.org/officeDocument/2006/relationships/image" Target="../media/image3.emf"/><Relationship Id="rId5" Type="http://schemas.openxmlformats.org/officeDocument/2006/relationships/oleObject" Target="../embeddings/oleObject40.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4.xml"/><Relationship Id="rId7" Type="http://schemas.openxmlformats.org/officeDocument/2006/relationships/image" Target="../media/image3.emf"/><Relationship Id="rId2" Type="http://schemas.openxmlformats.org/officeDocument/2006/relationships/vmlDrawing" Target="../drawings/vmlDrawing41.vml"/><Relationship Id="rId1" Type="http://schemas.openxmlformats.org/officeDocument/2006/relationships/themeOverride" Target="../theme/themeOverride16.xml"/><Relationship Id="rId6" Type="http://schemas.openxmlformats.org/officeDocument/2006/relationships/oleObject" Target="../embeddings/oleObject41.bin"/><Relationship Id="rId5" Type="http://schemas.openxmlformats.org/officeDocument/2006/relationships/slideMaster" Target="../slideMasters/slideMaster3.xml"/><Relationship Id="rId4" Type="http://schemas.openxmlformats.org/officeDocument/2006/relationships/tags" Target="../tags/tag75.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1.png"/><Relationship Id="rId2" Type="http://schemas.openxmlformats.org/officeDocument/2006/relationships/tags" Target="../tags/tag76.xml"/><Relationship Id="rId1" Type="http://schemas.openxmlformats.org/officeDocument/2006/relationships/vmlDrawing" Target="../drawings/vmlDrawing42.vml"/><Relationship Id="rId6" Type="http://schemas.openxmlformats.org/officeDocument/2006/relationships/image" Target="../media/image3.emf"/><Relationship Id="rId5" Type="http://schemas.openxmlformats.org/officeDocument/2006/relationships/oleObject" Target="../embeddings/oleObject42.bin"/><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78.xml"/><Relationship Id="rId7" Type="http://schemas.openxmlformats.org/officeDocument/2006/relationships/image" Target="../media/image3.emf"/><Relationship Id="rId2" Type="http://schemas.openxmlformats.org/officeDocument/2006/relationships/vmlDrawing" Target="../drawings/vmlDrawing43.vml"/><Relationship Id="rId1" Type="http://schemas.openxmlformats.org/officeDocument/2006/relationships/themeOverride" Target="../theme/themeOverride17.xml"/><Relationship Id="rId6" Type="http://schemas.openxmlformats.org/officeDocument/2006/relationships/oleObject" Target="../embeddings/oleObject43.bin"/><Relationship Id="rId5" Type="http://schemas.openxmlformats.org/officeDocument/2006/relationships/slideMaster" Target="../slideMasters/slideMaster3.xml"/><Relationship Id="rId4" Type="http://schemas.openxmlformats.org/officeDocument/2006/relationships/tags" Target="../tags/tag79.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1.png"/><Relationship Id="rId2" Type="http://schemas.openxmlformats.org/officeDocument/2006/relationships/tags" Target="../tags/tag80.xml"/><Relationship Id="rId1" Type="http://schemas.openxmlformats.org/officeDocument/2006/relationships/vmlDrawing" Target="../drawings/vmlDrawing44.vml"/><Relationship Id="rId6" Type="http://schemas.openxmlformats.org/officeDocument/2006/relationships/image" Target="../media/image3.emf"/><Relationship Id="rId5" Type="http://schemas.openxmlformats.org/officeDocument/2006/relationships/oleObject" Target="../embeddings/oleObject44.bin"/><Relationship Id="rId4"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82.xml"/><Relationship Id="rId7" Type="http://schemas.openxmlformats.org/officeDocument/2006/relationships/image" Target="../media/image3.emf"/><Relationship Id="rId2" Type="http://schemas.openxmlformats.org/officeDocument/2006/relationships/vmlDrawing" Target="../drawings/vmlDrawing45.vml"/><Relationship Id="rId1" Type="http://schemas.openxmlformats.org/officeDocument/2006/relationships/themeOverride" Target="../theme/themeOverride18.xml"/><Relationship Id="rId6" Type="http://schemas.openxmlformats.org/officeDocument/2006/relationships/oleObject" Target="../embeddings/oleObject45.bin"/><Relationship Id="rId5" Type="http://schemas.openxmlformats.org/officeDocument/2006/relationships/slideMaster" Target="../slideMasters/slideMaster3.xml"/><Relationship Id="rId4" Type="http://schemas.openxmlformats.org/officeDocument/2006/relationships/tags" Target="../tags/tag8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3.emf"/><Relationship Id="rId2" Type="http://schemas.openxmlformats.org/officeDocument/2006/relationships/tags" Target="../tags/tag84.xml"/><Relationship Id="rId1" Type="http://schemas.openxmlformats.org/officeDocument/2006/relationships/vmlDrawing" Target="../drawings/vmlDrawing46.vml"/><Relationship Id="rId6" Type="http://schemas.openxmlformats.org/officeDocument/2006/relationships/oleObject" Target="../embeddings/oleObject46.bin"/><Relationship Id="rId5" Type="http://schemas.openxmlformats.org/officeDocument/2006/relationships/image" Target="../media/image4.jpeg"/><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47.v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8.vml"/><Relationship Id="rId6" Type="http://schemas.openxmlformats.org/officeDocument/2006/relationships/image" Target="../media/image3.emf"/><Relationship Id="rId5" Type="http://schemas.openxmlformats.org/officeDocument/2006/relationships/oleObject" Target="../embeddings/oleObject48.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0.png"/><Relationship Id="rId2" Type="http://schemas.openxmlformats.org/officeDocument/2006/relationships/vmlDrawing" Target="../drawings/vmlDrawing49.vml"/><Relationship Id="rId1" Type="http://schemas.openxmlformats.org/officeDocument/2006/relationships/themeOverride" Target="../theme/themeOverride19.xml"/><Relationship Id="rId6" Type="http://schemas.openxmlformats.org/officeDocument/2006/relationships/image" Target="../media/image3.emf"/><Relationship Id="rId5" Type="http://schemas.openxmlformats.org/officeDocument/2006/relationships/oleObject" Target="../embeddings/oleObject49.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vmlDrawing" Target="../drawings/vmlDrawing50.vml"/><Relationship Id="rId1" Type="http://schemas.openxmlformats.org/officeDocument/2006/relationships/themeOverride" Target="../theme/themeOverride20.xml"/><Relationship Id="rId6" Type="http://schemas.openxmlformats.org/officeDocument/2006/relationships/image" Target="../media/image3.emf"/><Relationship Id="rId5" Type="http://schemas.openxmlformats.org/officeDocument/2006/relationships/oleObject" Target="../embeddings/oleObject50.bin"/><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vmlDrawing" Target="../drawings/vmlDrawing51.vml"/><Relationship Id="rId5" Type="http://schemas.openxmlformats.org/officeDocument/2006/relationships/image" Target="../media/image3.emf"/><Relationship Id="rId4" Type="http://schemas.openxmlformats.org/officeDocument/2006/relationships/oleObject" Target="../embeddings/oleObject51.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vmlDrawing" Target="../drawings/vmlDrawing52.vml"/><Relationship Id="rId6" Type="http://schemas.openxmlformats.org/officeDocument/2006/relationships/image" Target="../media/image3.emf"/><Relationship Id="rId5" Type="http://schemas.openxmlformats.org/officeDocument/2006/relationships/oleObject" Target="../embeddings/oleObject52.bin"/><Relationship Id="rId4" Type="http://schemas.openxmlformats.org/officeDocument/2006/relationships/image" Target="../media/image4.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vmlDrawing" Target="../drawings/vmlDrawing53.vml"/><Relationship Id="rId6" Type="http://schemas.openxmlformats.org/officeDocument/2006/relationships/image" Target="../media/image7.emf"/><Relationship Id="rId5" Type="http://schemas.openxmlformats.org/officeDocument/2006/relationships/oleObject" Target="../embeddings/oleObject53.bin"/><Relationship Id="rId4" Type="http://schemas.openxmlformats.org/officeDocument/2006/relationships/image" Target="../media/image8.jpeg"/></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vmlDrawing" Target="../drawings/vmlDrawing54.vml"/><Relationship Id="rId5" Type="http://schemas.openxmlformats.org/officeDocument/2006/relationships/image" Target="../media/image3.emf"/><Relationship Id="rId4" Type="http://schemas.openxmlformats.org/officeDocument/2006/relationships/oleObject" Target="../embeddings/oleObject54.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6.emf"/><Relationship Id="rId2" Type="http://schemas.openxmlformats.org/officeDocument/2006/relationships/vmlDrawing" Target="../drawings/vmlDrawing55.vml"/><Relationship Id="rId1" Type="http://schemas.openxmlformats.org/officeDocument/2006/relationships/themeOverride" Target="../theme/themeOverride21.xml"/><Relationship Id="rId6" Type="http://schemas.openxmlformats.org/officeDocument/2006/relationships/oleObject" Target="../embeddings/oleObject55.bin"/><Relationship Id="rId5" Type="http://schemas.openxmlformats.org/officeDocument/2006/relationships/slideMaster" Target="../slideMasters/slideMaster3.xml"/><Relationship Id="rId4" Type="http://schemas.openxmlformats.org/officeDocument/2006/relationships/tags" Target="../tags/tag9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vmlDrawing" Target="../drawings/vmlDrawing56.vml"/><Relationship Id="rId1" Type="http://schemas.openxmlformats.org/officeDocument/2006/relationships/themeOverride" Target="../theme/themeOverride22.xml"/><Relationship Id="rId6" Type="http://schemas.openxmlformats.org/officeDocument/2006/relationships/image" Target="../media/image6.emf"/><Relationship Id="rId5" Type="http://schemas.openxmlformats.org/officeDocument/2006/relationships/oleObject" Target="../embeddings/oleObject56.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vmlDrawing" Target="../drawings/vmlDrawing57.vml"/><Relationship Id="rId1" Type="http://schemas.openxmlformats.org/officeDocument/2006/relationships/themeOverride" Target="../theme/themeOverride23.xml"/><Relationship Id="rId6" Type="http://schemas.openxmlformats.org/officeDocument/2006/relationships/image" Target="../media/image6.emf"/><Relationship Id="rId5" Type="http://schemas.openxmlformats.org/officeDocument/2006/relationships/oleObject" Target="../embeddings/oleObject57.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5.png"/><Relationship Id="rId2" Type="http://schemas.openxmlformats.org/officeDocument/2006/relationships/vmlDrawing" Target="../drawings/vmlDrawing58.vml"/><Relationship Id="rId1" Type="http://schemas.openxmlformats.org/officeDocument/2006/relationships/themeOverride" Target="../theme/themeOverride24.xml"/><Relationship Id="rId6" Type="http://schemas.openxmlformats.org/officeDocument/2006/relationships/image" Target="../media/image6.emf"/><Relationship Id="rId5" Type="http://schemas.openxmlformats.org/officeDocument/2006/relationships/oleObject" Target="../embeddings/oleObject58.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9.vml"/><Relationship Id="rId6" Type="http://schemas.openxmlformats.org/officeDocument/2006/relationships/image" Target="../media/image6.emf"/><Relationship Id="rId5" Type="http://schemas.openxmlformats.org/officeDocument/2006/relationships/oleObject" Target="../embeddings/oleObject59.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60.vml"/><Relationship Id="rId5" Type="http://schemas.openxmlformats.org/officeDocument/2006/relationships/image" Target="../media/image6.emf"/><Relationship Id="rId4" Type="http://schemas.openxmlformats.org/officeDocument/2006/relationships/oleObject" Target="../embeddings/oleObject60.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61.vml"/><Relationship Id="rId5" Type="http://schemas.openxmlformats.org/officeDocument/2006/relationships/image" Target="../media/image6.emf"/><Relationship Id="rId4" Type="http://schemas.openxmlformats.org/officeDocument/2006/relationships/oleObject" Target="../embeddings/oleObject61.bin"/></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5.png"/><Relationship Id="rId2" Type="http://schemas.openxmlformats.org/officeDocument/2006/relationships/vmlDrawing" Target="../drawings/vmlDrawing62.vml"/><Relationship Id="rId1" Type="http://schemas.openxmlformats.org/officeDocument/2006/relationships/themeOverride" Target="../theme/themeOverride25.xml"/><Relationship Id="rId6" Type="http://schemas.openxmlformats.org/officeDocument/2006/relationships/image" Target="../media/image6.emf"/><Relationship Id="rId5" Type="http://schemas.openxmlformats.org/officeDocument/2006/relationships/oleObject" Target="../embeddings/oleObject62.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0.png"/><Relationship Id="rId2" Type="http://schemas.openxmlformats.org/officeDocument/2006/relationships/vmlDrawing" Target="../drawings/vmlDrawing63.vml"/><Relationship Id="rId1" Type="http://schemas.openxmlformats.org/officeDocument/2006/relationships/themeOverride" Target="../theme/themeOverride26.xml"/><Relationship Id="rId6" Type="http://schemas.openxmlformats.org/officeDocument/2006/relationships/image" Target="../media/image6.emf"/><Relationship Id="rId5" Type="http://schemas.openxmlformats.org/officeDocument/2006/relationships/oleObject" Target="../embeddings/oleObject63.bin"/><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emf"/><Relationship Id="rId2" Type="http://schemas.openxmlformats.org/officeDocument/2006/relationships/tags" Target="../tags/tag108.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image" Target="../media/image8.jpeg"/><Relationship Id="rId4"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9.jpeg"/><Relationship Id="rId2" Type="http://schemas.openxmlformats.org/officeDocument/2006/relationships/tags" Target="../tags/tag110.xml"/><Relationship Id="rId1" Type="http://schemas.openxmlformats.org/officeDocument/2006/relationships/vmlDrawing" Target="../drawings/vmlDrawing66.vml"/><Relationship Id="rId6" Type="http://schemas.openxmlformats.org/officeDocument/2006/relationships/image" Target="../media/image3.emf"/><Relationship Id="rId5" Type="http://schemas.openxmlformats.org/officeDocument/2006/relationships/oleObject" Target="../embeddings/oleObject66.bin"/><Relationship Id="rId4"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67.vml"/><Relationship Id="rId6" Type="http://schemas.openxmlformats.org/officeDocument/2006/relationships/image" Target="../media/image3.emf"/><Relationship Id="rId5" Type="http://schemas.openxmlformats.org/officeDocument/2006/relationships/oleObject" Target="../embeddings/oleObject67.bin"/><Relationship Id="rId4" Type="http://schemas.openxmlformats.org/officeDocument/2006/relationships/image" Target="../media/image4.jpeg"/></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68.vml"/><Relationship Id="rId6" Type="http://schemas.openxmlformats.org/officeDocument/2006/relationships/image" Target="../media/image7.emf"/><Relationship Id="rId5" Type="http://schemas.openxmlformats.org/officeDocument/2006/relationships/oleObject" Target="../embeddings/oleObject68.bin"/><Relationship Id="rId4" Type="http://schemas.openxmlformats.org/officeDocument/2006/relationships/image" Target="../media/image8.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69.vml"/><Relationship Id="rId5" Type="http://schemas.openxmlformats.org/officeDocument/2006/relationships/image" Target="../media/image3.emf"/><Relationship Id="rId4" Type="http://schemas.openxmlformats.org/officeDocument/2006/relationships/oleObject" Target="../embeddings/oleObject69.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3.emf"/><Relationship Id="rId2" Type="http://schemas.openxmlformats.org/officeDocument/2006/relationships/tags" Target="../tags/tag115.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image" Target="../media/image4.jpeg"/><Relationship Id="rId4"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image" Target="../media/image3.emf"/><Relationship Id="rId2" Type="http://schemas.openxmlformats.org/officeDocument/2006/relationships/tags" Target="../tags/tag117.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image" Target="../media/image4.jpeg"/><Relationship Id="rId4"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20.xml"/><Relationship Id="rId7" Type="http://schemas.openxmlformats.org/officeDocument/2006/relationships/image" Target="../media/image3.emf"/><Relationship Id="rId2" Type="http://schemas.openxmlformats.org/officeDocument/2006/relationships/tags" Target="../tags/tag119.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image" Target="../media/image4.jpeg"/><Relationship Id="rId4"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3.emf"/><Relationship Id="rId2" Type="http://schemas.openxmlformats.org/officeDocument/2006/relationships/tags" Target="../tags/tag121.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image" Target="../media/image4.jpeg"/><Relationship Id="rId4"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3.xml"/><Relationship Id="rId7" Type="http://schemas.openxmlformats.org/officeDocument/2006/relationships/image" Target="../media/image3.emf"/><Relationship Id="rId2" Type="http://schemas.openxmlformats.org/officeDocument/2006/relationships/vmlDrawing" Target="../drawings/vmlDrawing74.vml"/><Relationship Id="rId1" Type="http://schemas.openxmlformats.org/officeDocument/2006/relationships/themeOverride" Target="../theme/themeOverride27.xml"/><Relationship Id="rId6" Type="http://schemas.openxmlformats.org/officeDocument/2006/relationships/oleObject" Target="../embeddings/oleObject74.bin"/><Relationship Id="rId5" Type="http://schemas.openxmlformats.org/officeDocument/2006/relationships/slideMaster" Target="../slideMasters/slideMaster4.xml"/><Relationship Id="rId4" Type="http://schemas.openxmlformats.org/officeDocument/2006/relationships/tags" Target="../tags/tag124.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5.xml"/><Relationship Id="rId7" Type="http://schemas.openxmlformats.org/officeDocument/2006/relationships/image" Target="../media/image3.emf"/><Relationship Id="rId2" Type="http://schemas.openxmlformats.org/officeDocument/2006/relationships/vmlDrawing" Target="../drawings/vmlDrawing75.vml"/><Relationship Id="rId1" Type="http://schemas.openxmlformats.org/officeDocument/2006/relationships/themeOverride" Target="../theme/themeOverride28.xml"/><Relationship Id="rId6" Type="http://schemas.openxmlformats.org/officeDocument/2006/relationships/oleObject" Target="../embeddings/oleObject75.bin"/><Relationship Id="rId5" Type="http://schemas.openxmlformats.org/officeDocument/2006/relationships/slideMaster" Target="../slideMasters/slideMaster4.xml"/><Relationship Id="rId4" Type="http://schemas.openxmlformats.org/officeDocument/2006/relationships/tags" Target="../tags/tag12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4.jpeg"/><Relationship Id="rId4"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7.xml"/><Relationship Id="rId7" Type="http://schemas.openxmlformats.org/officeDocument/2006/relationships/image" Target="../media/image3.emf"/><Relationship Id="rId2" Type="http://schemas.openxmlformats.org/officeDocument/2006/relationships/vmlDrawing" Target="../drawings/vmlDrawing76.vml"/><Relationship Id="rId1" Type="http://schemas.openxmlformats.org/officeDocument/2006/relationships/themeOverride" Target="../theme/themeOverride29.xml"/><Relationship Id="rId6" Type="http://schemas.openxmlformats.org/officeDocument/2006/relationships/oleObject" Target="../embeddings/oleObject76.bin"/><Relationship Id="rId5" Type="http://schemas.openxmlformats.org/officeDocument/2006/relationships/slideMaster" Target="../slideMasters/slideMaster4.xml"/><Relationship Id="rId4" Type="http://schemas.openxmlformats.org/officeDocument/2006/relationships/tags" Target="../tags/tag128.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29.xml"/><Relationship Id="rId7" Type="http://schemas.openxmlformats.org/officeDocument/2006/relationships/image" Target="../media/image3.emf"/><Relationship Id="rId2" Type="http://schemas.openxmlformats.org/officeDocument/2006/relationships/vmlDrawing" Target="../drawings/vmlDrawing77.vml"/><Relationship Id="rId1" Type="http://schemas.openxmlformats.org/officeDocument/2006/relationships/themeOverride" Target="../theme/themeOverride30.xml"/><Relationship Id="rId6" Type="http://schemas.openxmlformats.org/officeDocument/2006/relationships/oleObject" Target="../embeddings/oleObject77.bin"/><Relationship Id="rId5" Type="http://schemas.openxmlformats.org/officeDocument/2006/relationships/slideMaster" Target="../slideMasters/slideMaster4.xml"/><Relationship Id="rId4" Type="http://schemas.openxmlformats.org/officeDocument/2006/relationships/tags" Target="../tags/tag130.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31.xml"/><Relationship Id="rId7" Type="http://schemas.openxmlformats.org/officeDocument/2006/relationships/image" Target="../media/image3.emf"/><Relationship Id="rId2" Type="http://schemas.openxmlformats.org/officeDocument/2006/relationships/vmlDrawing" Target="../drawings/vmlDrawing78.vml"/><Relationship Id="rId1" Type="http://schemas.openxmlformats.org/officeDocument/2006/relationships/themeOverride" Target="../theme/themeOverride31.xml"/><Relationship Id="rId6" Type="http://schemas.openxmlformats.org/officeDocument/2006/relationships/oleObject" Target="../embeddings/oleObject78.bin"/><Relationship Id="rId5" Type="http://schemas.openxmlformats.org/officeDocument/2006/relationships/slideMaster" Target="../slideMasters/slideMaster4.xml"/><Relationship Id="rId4" Type="http://schemas.openxmlformats.org/officeDocument/2006/relationships/tags" Target="../tags/tag132.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33.xml"/><Relationship Id="rId7" Type="http://schemas.openxmlformats.org/officeDocument/2006/relationships/image" Target="../media/image3.emf"/><Relationship Id="rId2" Type="http://schemas.openxmlformats.org/officeDocument/2006/relationships/vmlDrawing" Target="../drawings/vmlDrawing79.vml"/><Relationship Id="rId1" Type="http://schemas.openxmlformats.org/officeDocument/2006/relationships/themeOverride" Target="../theme/themeOverride32.xml"/><Relationship Id="rId6" Type="http://schemas.openxmlformats.org/officeDocument/2006/relationships/oleObject" Target="../embeddings/oleObject79.bin"/><Relationship Id="rId5" Type="http://schemas.openxmlformats.org/officeDocument/2006/relationships/slideMaster" Target="../slideMasters/slideMaster4.xml"/><Relationship Id="rId4" Type="http://schemas.openxmlformats.org/officeDocument/2006/relationships/tags" Target="../tags/tag134.xml"/></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35.xml"/><Relationship Id="rId7" Type="http://schemas.openxmlformats.org/officeDocument/2006/relationships/image" Target="../media/image12.emf"/><Relationship Id="rId2" Type="http://schemas.openxmlformats.org/officeDocument/2006/relationships/vmlDrawing" Target="../drawings/vmlDrawing80.vml"/><Relationship Id="rId1" Type="http://schemas.openxmlformats.org/officeDocument/2006/relationships/themeOverride" Target="../theme/themeOverride33.xml"/><Relationship Id="rId6" Type="http://schemas.openxmlformats.org/officeDocument/2006/relationships/oleObject" Target="../embeddings/oleObject80.bin"/><Relationship Id="rId5" Type="http://schemas.openxmlformats.org/officeDocument/2006/relationships/slideMaster" Target="../slideMasters/slideMaster4.xml"/><Relationship Id="rId4" Type="http://schemas.openxmlformats.org/officeDocument/2006/relationships/tags" Target="../tags/tag136.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11.png"/><Relationship Id="rId2" Type="http://schemas.openxmlformats.org/officeDocument/2006/relationships/tags" Target="../tags/tag137.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oleObject" Target="../embeddings/oleObject81.bin"/><Relationship Id="rId4"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39.xml"/><Relationship Id="rId7" Type="http://schemas.openxmlformats.org/officeDocument/2006/relationships/image" Target="../media/image3.emf"/><Relationship Id="rId2" Type="http://schemas.openxmlformats.org/officeDocument/2006/relationships/vmlDrawing" Target="../drawings/vmlDrawing82.vml"/><Relationship Id="rId1" Type="http://schemas.openxmlformats.org/officeDocument/2006/relationships/themeOverride" Target="../theme/themeOverride34.xml"/><Relationship Id="rId6" Type="http://schemas.openxmlformats.org/officeDocument/2006/relationships/oleObject" Target="../embeddings/oleObject82.bin"/><Relationship Id="rId5" Type="http://schemas.openxmlformats.org/officeDocument/2006/relationships/slideMaster" Target="../slideMasters/slideMaster4.xml"/><Relationship Id="rId4" Type="http://schemas.openxmlformats.org/officeDocument/2006/relationships/tags" Target="../tags/tag140.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42.xml"/><Relationship Id="rId7" Type="http://schemas.openxmlformats.org/officeDocument/2006/relationships/image" Target="../media/image11.png"/><Relationship Id="rId2" Type="http://schemas.openxmlformats.org/officeDocument/2006/relationships/tags" Target="../tags/tag141.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oleObject" Target="../embeddings/oleObject83.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43.xml"/><Relationship Id="rId7" Type="http://schemas.openxmlformats.org/officeDocument/2006/relationships/image" Target="../media/image3.emf"/><Relationship Id="rId2" Type="http://schemas.openxmlformats.org/officeDocument/2006/relationships/vmlDrawing" Target="../drawings/vmlDrawing84.vml"/><Relationship Id="rId1" Type="http://schemas.openxmlformats.org/officeDocument/2006/relationships/themeOverride" Target="../theme/themeOverride35.xml"/><Relationship Id="rId6" Type="http://schemas.openxmlformats.org/officeDocument/2006/relationships/oleObject" Target="../embeddings/oleObject84.bin"/><Relationship Id="rId5" Type="http://schemas.openxmlformats.org/officeDocument/2006/relationships/slideMaster" Target="../slideMasters/slideMaster4.xml"/><Relationship Id="rId4" Type="http://schemas.openxmlformats.org/officeDocument/2006/relationships/tags" Target="../tags/tag14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11.png"/><Relationship Id="rId2" Type="http://schemas.openxmlformats.org/officeDocument/2006/relationships/tags" Target="../tags/tag145.xml"/><Relationship Id="rId1" Type="http://schemas.openxmlformats.org/officeDocument/2006/relationships/vmlDrawing" Target="../drawings/vmlDrawing85.vml"/><Relationship Id="rId6" Type="http://schemas.openxmlformats.org/officeDocument/2006/relationships/image" Target="../media/image3.emf"/><Relationship Id="rId5" Type="http://schemas.openxmlformats.org/officeDocument/2006/relationships/oleObject" Target="../embeddings/oleObject85.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8.jpeg"/><Relationship Id="rId4" Type="http://schemas.openxmlformats.org/officeDocument/2006/relationships/slideMaster" Target="../slideMasters/slideMaster3.xml"/></Relationships>
</file>

<file path=ppt/slideLayouts/_rels/slideLayout9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47.xml"/><Relationship Id="rId7" Type="http://schemas.openxmlformats.org/officeDocument/2006/relationships/image" Target="../media/image3.emf"/><Relationship Id="rId2" Type="http://schemas.openxmlformats.org/officeDocument/2006/relationships/vmlDrawing" Target="../drawings/vmlDrawing86.vml"/><Relationship Id="rId1" Type="http://schemas.openxmlformats.org/officeDocument/2006/relationships/themeOverride" Target="../theme/themeOverride36.xml"/><Relationship Id="rId6" Type="http://schemas.openxmlformats.org/officeDocument/2006/relationships/oleObject" Target="../embeddings/oleObject86.bin"/><Relationship Id="rId5" Type="http://schemas.openxmlformats.org/officeDocument/2006/relationships/slideMaster" Target="../slideMasters/slideMaster4.xml"/><Relationship Id="rId4" Type="http://schemas.openxmlformats.org/officeDocument/2006/relationships/tags" Target="../tags/tag148.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50.xml"/><Relationship Id="rId7" Type="http://schemas.openxmlformats.org/officeDocument/2006/relationships/image" Target="../media/image11.png"/><Relationship Id="rId2" Type="http://schemas.openxmlformats.org/officeDocument/2006/relationships/tags" Target="../tags/tag149.xml"/><Relationship Id="rId1" Type="http://schemas.openxmlformats.org/officeDocument/2006/relationships/vmlDrawing" Target="../drawings/vmlDrawing87.vml"/><Relationship Id="rId6" Type="http://schemas.openxmlformats.org/officeDocument/2006/relationships/image" Target="../media/image3.emf"/><Relationship Id="rId5" Type="http://schemas.openxmlformats.org/officeDocument/2006/relationships/oleObject" Target="../embeddings/oleObject87.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3.emf"/><Relationship Id="rId2" Type="http://schemas.openxmlformats.org/officeDocument/2006/relationships/vmlDrawing" Target="../drawings/vmlDrawing88.vml"/><Relationship Id="rId1" Type="http://schemas.openxmlformats.org/officeDocument/2006/relationships/themeOverride" Target="../theme/themeOverride37.xml"/><Relationship Id="rId6" Type="http://schemas.openxmlformats.org/officeDocument/2006/relationships/oleObject" Target="../embeddings/oleObject88.bin"/><Relationship Id="rId5" Type="http://schemas.openxmlformats.org/officeDocument/2006/relationships/slideMaster" Target="../slideMasters/slideMaster4.xml"/><Relationship Id="rId4" Type="http://schemas.openxmlformats.org/officeDocument/2006/relationships/tags" Target="../tags/tag152.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54.xml"/><Relationship Id="rId7" Type="http://schemas.openxmlformats.org/officeDocument/2006/relationships/image" Target="../media/image3.emf"/><Relationship Id="rId2" Type="http://schemas.openxmlformats.org/officeDocument/2006/relationships/tags" Target="../tags/tag153.xml"/><Relationship Id="rId1" Type="http://schemas.openxmlformats.org/officeDocument/2006/relationships/vmlDrawing" Target="../drawings/vmlDrawing89.vml"/><Relationship Id="rId6" Type="http://schemas.openxmlformats.org/officeDocument/2006/relationships/oleObject" Target="../embeddings/oleObject89.bin"/><Relationship Id="rId5" Type="http://schemas.openxmlformats.org/officeDocument/2006/relationships/image" Target="../media/image4.jpeg"/><Relationship Id="rId4"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5.xml"/><Relationship Id="rId1" Type="http://schemas.openxmlformats.org/officeDocument/2006/relationships/vmlDrawing" Target="../drawings/vmlDrawing90.vml"/><Relationship Id="rId6" Type="http://schemas.openxmlformats.org/officeDocument/2006/relationships/image" Target="../media/image14.png"/><Relationship Id="rId5" Type="http://schemas.openxmlformats.org/officeDocument/2006/relationships/image" Target="../media/image7.emf"/><Relationship Id="rId4" Type="http://schemas.openxmlformats.org/officeDocument/2006/relationships/oleObject" Target="../embeddings/oleObject90.bin"/></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vmlDrawing" Target="../drawings/vmlDrawing91.vml"/><Relationship Id="rId6" Type="http://schemas.openxmlformats.org/officeDocument/2006/relationships/image" Target="../media/image3.emf"/><Relationship Id="rId5" Type="http://schemas.openxmlformats.org/officeDocument/2006/relationships/oleObject" Target="../embeddings/oleObject91.bin"/><Relationship Id="rId4"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58.xml"/><Relationship Id="rId7" Type="http://schemas.openxmlformats.org/officeDocument/2006/relationships/image" Target="../media/image10.png"/><Relationship Id="rId2" Type="http://schemas.openxmlformats.org/officeDocument/2006/relationships/vmlDrawing" Target="../drawings/vmlDrawing92.vml"/><Relationship Id="rId1" Type="http://schemas.openxmlformats.org/officeDocument/2006/relationships/themeOverride" Target="../theme/themeOverride38.xml"/><Relationship Id="rId6" Type="http://schemas.openxmlformats.org/officeDocument/2006/relationships/image" Target="../media/image3.emf"/><Relationship Id="rId5" Type="http://schemas.openxmlformats.org/officeDocument/2006/relationships/oleObject" Target="../embeddings/oleObject92.bin"/><Relationship Id="rId4"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159.xml"/><Relationship Id="rId2" Type="http://schemas.openxmlformats.org/officeDocument/2006/relationships/vmlDrawing" Target="../drawings/vmlDrawing93.vml"/><Relationship Id="rId1" Type="http://schemas.openxmlformats.org/officeDocument/2006/relationships/themeOverride" Target="../theme/themeOverride39.xml"/><Relationship Id="rId6" Type="http://schemas.openxmlformats.org/officeDocument/2006/relationships/image" Target="../media/image3.emf"/><Relationship Id="rId5" Type="http://schemas.openxmlformats.org/officeDocument/2006/relationships/oleObject" Target="../embeddings/oleObject93.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vmlDrawing" Target="../drawings/vmlDrawing94.vml"/><Relationship Id="rId5" Type="http://schemas.openxmlformats.org/officeDocument/2006/relationships/image" Target="../media/image3.emf"/><Relationship Id="rId4" Type="http://schemas.openxmlformats.org/officeDocument/2006/relationships/oleObject" Target="../embeddings/oleObject94.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1.xml"/><Relationship Id="rId1" Type="http://schemas.openxmlformats.org/officeDocument/2006/relationships/vmlDrawing" Target="../drawings/vmlDrawing95.vml"/><Relationship Id="rId6" Type="http://schemas.openxmlformats.org/officeDocument/2006/relationships/image" Target="../media/image3.emf"/><Relationship Id="rId5" Type="http://schemas.openxmlformats.org/officeDocument/2006/relationships/oleObject" Target="../embeddings/oleObject95.bin"/><Relationship Id="rId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64000" y="2044800"/>
            <a:ext cx="6858000" cy="457323"/>
          </a:xfrm>
        </p:spPr>
        <p:txBody>
          <a:bodyPr lIns="0" tIns="0" rIns="0" bIns="0" anchor="t" anchorCtr="0">
            <a:normAutofit/>
          </a:bodyPr>
          <a:lstStyle>
            <a:lvl1pPr algn="l">
              <a:defRPr sz="2500" b="1">
                <a:solidFill>
                  <a:schemeClr val="bg1"/>
                </a:solidFill>
                <a:latin typeface="+mn-lt"/>
              </a:defRPr>
            </a:lvl1pPr>
          </a:lstStyle>
          <a:p>
            <a:r>
              <a:rPr lang="en-US"/>
              <a:t>Title of the presentation</a:t>
            </a:r>
          </a:p>
        </p:txBody>
      </p:sp>
      <p:sp>
        <p:nvSpPr>
          <p:cNvPr id="3" name="Subtitle 2"/>
          <p:cNvSpPr>
            <a:spLocks noGrp="1"/>
          </p:cNvSpPr>
          <p:nvPr>
            <p:ph type="subTitle" idx="1" hasCustomPrompt="1"/>
          </p:nvPr>
        </p:nvSpPr>
        <p:spPr>
          <a:xfrm>
            <a:off x="864000" y="2574000"/>
            <a:ext cx="6858000" cy="432179"/>
          </a:xfrm>
        </p:spPr>
        <p:txBody>
          <a:bodyPr lIns="0" tIns="0" rIns="0" bIns="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4" name="Footer Placeholder 3">
            <a:extLst>
              <a:ext uri="{FF2B5EF4-FFF2-40B4-BE49-F238E27FC236}">
                <a16:creationId xmlns:a16="http://schemas.microsoft.com/office/drawing/2014/main" id="{7E03F830-CD42-4995-B57B-4CDB1D5A0661}"/>
              </a:ext>
            </a:extLst>
          </p:cNvPr>
          <p:cNvSpPr>
            <a:spLocks noGrp="1"/>
          </p:cNvSpPr>
          <p:nvPr>
            <p:ph type="ftr" sz="quarter" idx="10"/>
          </p:nvPr>
        </p:nvSpPr>
        <p:spPr>
          <a:xfrm>
            <a:off x="3028950" y="4772025"/>
            <a:ext cx="3086100" cy="273050"/>
          </a:xfr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9941447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07329634"/>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658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3956356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9215379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874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9A99F7CD-7872-40B1-A868-68D0BEA427A4}"/>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211156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233689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976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521532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4304529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079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189062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957641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181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383581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65281760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2838"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96040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9328469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386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4356325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555965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488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42933356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43217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59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546579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068323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69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343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1786103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795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5156480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571672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60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57200" y="349200"/>
            <a:ext cx="6364188" cy="993775"/>
          </a:xfrm>
        </p:spPr>
        <p:txBody>
          <a:bodyPr vert="horz" wrap="square" lIns="0" tIns="0" rIns="0" bIns="0" rtlCol="0" anchor="ctr">
            <a:normAutofit/>
          </a:bodyPr>
          <a:lstStyle>
            <a:lvl1pPr>
              <a:defRPr lang="en-US" dirty="0"/>
            </a:lvl1pPr>
          </a:lstStyle>
          <a:p>
            <a:pPr marL="0" lvl="0" defTabSz="914400"/>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sz="1500">
                <a:latin typeface="+mn-lt"/>
                <a:ea typeface="+mn-ea"/>
                <a:cs typeface="+mn-cs"/>
                <a:sym typeface="+mn-lt"/>
              </a:defRPr>
            </a:lvl1pPr>
            <a:lvl2pPr>
              <a:lnSpc>
                <a:spcPct val="100000"/>
              </a:lnSpc>
              <a:spcBef>
                <a:spcPts val="0"/>
              </a:spcBef>
              <a:spcAft>
                <a:spcPts val="0"/>
              </a:spcAft>
              <a:defRPr sz="1500">
                <a:latin typeface="+mn-lt"/>
                <a:ea typeface="+mn-ea"/>
                <a:cs typeface="+mn-cs"/>
                <a:sym typeface="+mn-lt"/>
              </a:defRPr>
            </a:lvl2pPr>
            <a:lvl3pPr>
              <a:lnSpc>
                <a:spcPct val="100000"/>
              </a:lnSpc>
              <a:spcBef>
                <a:spcPts val="0"/>
              </a:spcBef>
              <a:spcAft>
                <a:spcPts val="0"/>
              </a:spcAft>
              <a:defRPr sz="1500">
                <a:latin typeface="+mn-lt"/>
                <a:ea typeface="+mn-ea"/>
                <a:cs typeface="+mn-cs"/>
                <a:sym typeface="+mn-lt"/>
              </a:defRPr>
            </a:lvl3pPr>
            <a:lvl4pPr>
              <a:lnSpc>
                <a:spcPct val="100000"/>
              </a:lnSpc>
              <a:spcBef>
                <a:spcPts val="0"/>
              </a:spcBef>
              <a:spcAft>
                <a:spcPts val="0"/>
              </a:spcAft>
              <a:defRPr sz="2100">
                <a:latin typeface="+mn-lt"/>
                <a:ea typeface="+mn-ea"/>
                <a:cs typeface="+mn-cs"/>
                <a:sym typeface="+mn-lt"/>
              </a:defRPr>
            </a:lvl4pPr>
            <a:lvl5pPr>
              <a:lnSpc>
                <a:spcPct val="100000"/>
              </a:lnSpc>
              <a:spcBef>
                <a:spcPts val="0"/>
              </a:spcBef>
              <a:spcAft>
                <a:spcPts val="0"/>
              </a:spcAft>
              <a:defRPr sz="21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353603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1147601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0898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088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06C16A0F-1DB0-4427-BBE5-185321D6072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980409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4349827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1030"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73E7DC8-BA82-4191-B2C6-C44D0105C08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135006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3386413"/>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11205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1128557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9531433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307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755702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7913791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14102"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92AD3C5-2EFB-4B42-B288-B56E65F2C05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9478623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3009751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5126"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694023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762770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615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06183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040267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7174"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443600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458884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81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1768585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537365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63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Rectangle 7"/>
          <p:cNvSpPr/>
          <p:nvPr userDrawn="1"/>
        </p:nvSpPr>
        <p:spPr bwMode="ltGray">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457200" y="1159278"/>
            <a:ext cx="2604600" cy="1122884"/>
          </a:xfrm>
          <a:noFill/>
        </p:spPr>
        <p:txBody>
          <a:bodyPr wrap="square" lIns="0" tIns="0" rIns="320040" bIns="0" anchor="b">
            <a:noAutofit/>
          </a:bodyPr>
          <a:lstStyle>
            <a:lvl1pPr>
              <a:defRPr sz="2500">
                <a:solidFill>
                  <a:srgbClr val="002D3F"/>
                </a:solidFill>
                <a:latin typeface="+mj-lt"/>
                <a:ea typeface="+mj-ea"/>
                <a:cs typeface="+mj-cs"/>
                <a:sym typeface="+mj-lt"/>
              </a:defRPr>
            </a:lvl1pPr>
          </a:lstStyle>
          <a:p>
            <a:r>
              <a:rPr lang="en-US"/>
              <a:t>Click to add title</a:t>
            </a:r>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646838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7018426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1922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FE45FA7E-8230-45EB-9CAD-4701EE3E9729}"/>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122390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5540921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024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219662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03523748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127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2855452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1677979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229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534055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5832691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33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81564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355936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434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292610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9996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536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630488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9069060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26390"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557074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505079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741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3928933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80859856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84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17023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3980276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6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baseline="0">
                <a:solidFill>
                  <a:srgbClr val="002D3F"/>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22063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1293658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946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69305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7684239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048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32998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804874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1510"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3342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4329825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253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52919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5885058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355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737730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6235812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45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46672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838608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560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66691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8927552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36630"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0920068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58234680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765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2905738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3631112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867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27465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5347289"/>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1067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Freeform 14"/>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2075072"/>
            <a:ext cx="1874281" cy="986646"/>
          </a:xfrm>
        </p:spPr>
        <p:txBody>
          <a:bodyPr anchor="ctr" anchorCtr="0">
            <a:noAutofit/>
          </a:bodyPr>
          <a:lstStyle>
            <a:lvl1pPr>
              <a:defRPr sz="25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7059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4545718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9702"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7785462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731335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0726"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967546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251001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1750"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14813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144640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2774"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B878ABA1-8739-43F4-A348-6321F26913F7}"/>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40038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5507668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3798"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96687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59042404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4822"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2362348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79002417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584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29541788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36125239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687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37936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95820856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789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7343013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8251000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891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2184166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87521712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1702"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8"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2"/>
            <a:ext cx="407019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9938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6772235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4994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445631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3614582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509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882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81842654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5199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817360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94060198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5301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403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AF73A8DB-6B69-4944-B8D1-D1D9E8B6FADA}"/>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111888771"/>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12295614-5823-468A-AE4B-41235B445112}"/>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6676439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48537D33-0F7F-4D69-9E1E-C5AC1B69DB4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0200250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9420336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40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18640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48537D33-0F7F-4D69-9E1E-C5AC1B69DB4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11881829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096799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506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07144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68989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272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3"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4"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13992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1"/>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48537D33-0F7F-4D69-9E1E-C5AC1B69DB48}"/>
              </a:ext>
            </a:extLst>
          </p:cNvPr>
          <p:cNvSpPr>
            <a:spLocks noGrp="1"/>
          </p:cNvSpPr>
          <p:nvPr>
            <p:ph type="ftr" sz="quarter" idx="10"/>
          </p:nvPr>
        </p:nvSpPr>
        <p:spPr>
          <a:xfrm>
            <a:off x="3124200" y="6356351"/>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0390170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054167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375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6"/>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4" name="Pentagon 8"/>
          <p:cNvSpPr/>
          <p:nvPr userDrawn="1"/>
        </p:nvSpPr>
        <p:spPr bwMode="white">
          <a:xfrm>
            <a:off x="1" y="2"/>
            <a:ext cx="4772660" cy="5148263"/>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9" name="Picture 8"/>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19519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2332322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477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4" name="Pentagon 8"/>
          <p:cNvSpPr/>
          <p:nvPr userDrawn="1"/>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6" name="Title 2"/>
          <p:cNvSpPr>
            <a:spLocks noGrp="1"/>
          </p:cNvSpPr>
          <p:nvPr>
            <p:ph type="title" hasCustomPrompt="1"/>
          </p:nvPr>
        </p:nvSpPr>
        <p:spPr>
          <a:xfrm>
            <a:off x="457200" y="349200"/>
            <a:ext cx="3520537"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3"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58565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22740975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579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6" name="Picture 15"/>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0556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normAutofit/>
          </a:bodyPr>
          <a:lstStyle>
            <a:lvl1pPr algn="l">
              <a:defRPr sz="2400" b="1">
                <a:solidFill>
                  <a:srgbClr val="002D3F"/>
                </a:solidFill>
                <a:latin typeface="Arial Nova" panose="020B0504020202020204" pitchFamily="34" charset="0"/>
              </a:defRPr>
            </a:lvl1p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TextBox 3">
            <a:extLst>
              <a:ext uri="{FF2B5EF4-FFF2-40B4-BE49-F238E27FC236}">
                <a16:creationId xmlns:a16="http://schemas.microsoft.com/office/drawing/2014/main" id="{3ECB7956-FB3A-4261-85D0-EF67430E350A}"/>
              </a:ext>
            </a:extLst>
          </p:cNvPr>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122169653"/>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97424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82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11" name="Title 3"/>
          <p:cNvSpPr>
            <a:spLocks noGrp="1"/>
          </p:cNvSpPr>
          <p:nvPr>
            <p:ph type="title" hasCustomPrompt="1"/>
          </p:nvPr>
        </p:nvSpPr>
        <p:spPr>
          <a:xfrm>
            <a:off x="457200" y="349200"/>
            <a:ext cx="4707900" cy="993775"/>
          </a:xfrm>
          <a:prstGeom prst="rect">
            <a:avLst/>
          </a:prstGeom>
        </p:spPr>
        <p:txBody>
          <a:bodyPr vert="horz" wrap="square" lIns="0" tIns="0" rIns="0" bIns="0" anchor="ctr" anchorCtr="0">
            <a:noAutofit/>
          </a:bodyPr>
          <a:lstStyle>
            <a:lvl1pPr marL="0" indent="0" algn="l">
              <a:lnSpc>
                <a:spcPct val="90000"/>
              </a:lnSpc>
              <a:spcBef>
                <a:spcPct val="0"/>
              </a:spcBef>
              <a:spcAft>
                <a:spcPts val="0"/>
              </a:spcAft>
              <a:defRPr sz="25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413970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
            </p:custDataLst>
            <p:extLst>
              <p:ext uri="{D42A27DB-BD31-4B8C-83A1-F6EECF244321}">
                <p14:modId xmlns:p14="http://schemas.microsoft.com/office/powerpoint/2010/main" val="26734614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784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7" name="Rectangle 6"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JS SlideHeader"/>
          <p:cNvSpPr txBox="1"/>
          <p:nvPr/>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4" name="Date Placeholder 3"/>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825625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212E"/>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657175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18870"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436294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44188164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9894"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4"/>
          </p:nvPr>
        </p:nvSpPr>
        <p:spPr bwMode="white">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57200" y="349200"/>
            <a:ext cx="6364188" cy="993775"/>
          </a:xfrm>
        </p:spPr>
        <p:txBody>
          <a:bodyPr>
            <a:normAutofit/>
          </a:bodyPr>
          <a:lstStyle>
            <a:lvl1pPr>
              <a:defRPr sz="25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83465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82223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0918"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121333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4430152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194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2"/>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310924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49613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296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814486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555314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2399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0CEE8C29-9A6D-4B68-BDAC-CB90E3DBD79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767257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993574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501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73632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1499833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6038"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EDA5552E-028E-438B-A6AF-DC80A7B8BF1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725794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699942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095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711261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6484947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706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8688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9956582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8086"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2629318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234403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2911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Rectangle 6"/>
          <p:cNvSpPr/>
          <p:nvPr userDrawn="1"/>
        </p:nvSpPr>
        <p:spPr bwMode="white">
          <a:xfrm>
            <a:off x="1" y="-982"/>
            <a:ext cx="3520800" cy="5149246"/>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57200" y="1620740"/>
            <a:ext cx="2823300" cy="406641"/>
          </a:xfrm>
          <a:prstGeom prst="rect">
            <a:avLst/>
          </a:prstGeom>
        </p:spPr>
        <p:txBody>
          <a:bodyPr>
            <a:noAutofit/>
          </a:bodyPr>
          <a:lstStyle>
            <a:lvl1pPr marL="0" indent="0" algn="l">
              <a:buNone/>
              <a:defRPr sz="1400">
                <a:solidFill>
                  <a:srgbClr val="002D3F"/>
                </a:solidFill>
                <a:latin typeface="+mn-lt"/>
                <a:ea typeface="+mn-ea"/>
                <a:cs typeface="+mn-cs"/>
                <a:sym typeface="+mn-lt"/>
              </a:defRPr>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add subtitle</a:t>
            </a:r>
          </a:p>
        </p:txBody>
      </p:sp>
      <p:sp>
        <p:nvSpPr>
          <p:cNvPr id="9" name="Title 4"/>
          <p:cNvSpPr>
            <a:spLocks noGrp="1"/>
          </p:cNvSpPr>
          <p:nvPr>
            <p:ph type="title" hasCustomPrompt="1"/>
          </p:nvPr>
        </p:nvSpPr>
        <p:spPr>
          <a:xfrm>
            <a:off x="457200" y="921140"/>
            <a:ext cx="2823300" cy="499059"/>
          </a:xfrm>
        </p:spPr>
        <p:txBody>
          <a:bodyPr anchor="t">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722656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2">
          <p15:clr>
            <a:srgbClr val="FBAE40"/>
          </p15:clr>
        </p15:guide>
        <p15:guide id="2" pos="288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70029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01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3620397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4054542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115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10A19F5B-A501-4059-97D2-9CF91FB46C80}"/>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270927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94565568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218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96157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2158060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3206"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6137561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76713048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423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1435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28979146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25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359249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36275151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627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6836631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11431825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162993"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3" name="Date Placeholder 2">
            <a:extLst>
              <a:ext uri="{FF2B5EF4-FFF2-40B4-BE49-F238E27FC236}">
                <a16:creationId xmlns:a16="http://schemas.microsoft.com/office/drawing/2014/main" id="{C63B0D2C-48F9-4A74-A019-D89B47F39A7F}"/>
              </a:ext>
            </a:extLst>
          </p:cNvPr>
          <p:cNvSpPr>
            <a:spLocks noGrp="1"/>
          </p:cNvSpPr>
          <p:nvPr>
            <p:ph type="dt" sz="half" idx="11"/>
          </p:nvPr>
        </p:nvSpPr>
        <p:spPr/>
        <p:txBody>
          <a:bodyPr/>
          <a:lstStyle/>
          <a:p>
            <a:endParaRPr lang="en-US"/>
          </a:p>
        </p:txBody>
      </p:sp>
    </p:spTree>
    <p:extLst>
      <p:ext uri="{BB962C8B-B14F-4D97-AF65-F5344CB8AC3E}">
        <p14:creationId xmlns:p14="http://schemas.microsoft.com/office/powerpoint/2010/main" val="2052965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02517638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730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20522863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937617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38326"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89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662536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935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77496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571101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03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7289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7298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139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143031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10826516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242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9823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924463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344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001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46832633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4470"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2961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26297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5494"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26170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54392920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65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9515697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alphaModFix amt="40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736AB-07F7-4AB2-A214-A28D7E113D23}"/>
              </a:ext>
            </a:extLst>
          </p:cNvPr>
          <p:cNvSpPr>
            <a:spLocks noGrp="1"/>
          </p:cNvSpPr>
          <p:nvPr>
            <p:ph type="title"/>
          </p:nvPr>
        </p:nvSpPr>
        <p:spPr/>
        <p:txBody>
          <a:bodyPr/>
          <a:lstStyle>
            <a:lvl1pPr>
              <a:defRPr b="1">
                <a:solidFill>
                  <a:srgbClr val="002D3F"/>
                </a:solidFill>
                <a:latin typeface="Arial Nova" panose="020B0504020202020204" pitchFamily="34" charset="0"/>
              </a:defRPr>
            </a:lvl1pPr>
          </a:lstStyle>
          <a:p>
            <a:r>
              <a:rPr lang="en-US" dirty="0"/>
              <a:t>Click to edit Master title style</a:t>
            </a:r>
            <a:endParaRPr lang="en-AU" dirty="0"/>
          </a:p>
        </p:txBody>
      </p:sp>
      <p:sp>
        <p:nvSpPr>
          <p:cNvPr id="4" name="Oval 3">
            <a:extLst>
              <a:ext uri="{FF2B5EF4-FFF2-40B4-BE49-F238E27FC236}">
                <a16:creationId xmlns:a16="http://schemas.microsoft.com/office/drawing/2014/main" id="{6FC8D74C-FFAD-44D9-8C21-E6BE6DA82BF5}"/>
              </a:ext>
            </a:extLst>
          </p:cNvPr>
          <p:cNvSpPr/>
          <p:nvPr userDrawn="1"/>
        </p:nvSpPr>
        <p:spPr>
          <a:xfrm>
            <a:off x="971600" y="1402602"/>
            <a:ext cx="1045557" cy="1045557"/>
          </a:xfrm>
          <a:prstGeom prst="ellipse">
            <a:avLst/>
          </a:prstGeom>
          <a:solidFill>
            <a:schemeClr val="bg1">
              <a:lumMod val="95000"/>
            </a:schemeClr>
          </a:solidFill>
          <a:ln>
            <a:noFill/>
          </a:ln>
          <a:effectLst>
            <a:outerShdw blurRad="38100" dist="38100" dir="2700000" sx="98000" sy="98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Oval 4">
            <a:extLst>
              <a:ext uri="{FF2B5EF4-FFF2-40B4-BE49-F238E27FC236}">
                <a16:creationId xmlns:a16="http://schemas.microsoft.com/office/drawing/2014/main" id="{B55262E2-0900-426C-87E2-D26872F88BFE}"/>
              </a:ext>
            </a:extLst>
          </p:cNvPr>
          <p:cNvSpPr/>
          <p:nvPr userDrawn="1"/>
        </p:nvSpPr>
        <p:spPr>
          <a:xfrm>
            <a:off x="2915816" y="1402602"/>
            <a:ext cx="1045557" cy="1045557"/>
          </a:xfrm>
          <a:prstGeom prst="ellipse">
            <a:avLst/>
          </a:prstGeom>
          <a:solidFill>
            <a:schemeClr val="bg1">
              <a:lumMod val="95000"/>
            </a:schemeClr>
          </a:solidFill>
          <a:ln>
            <a:noFill/>
          </a:ln>
          <a:effectLst>
            <a:outerShdw blurRad="38100" dist="38100" dir="2700000" sx="98000" sy="98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Oval 5">
            <a:extLst>
              <a:ext uri="{FF2B5EF4-FFF2-40B4-BE49-F238E27FC236}">
                <a16:creationId xmlns:a16="http://schemas.microsoft.com/office/drawing/2014/main" id="{E1EE1EEA-9BF3-4096-A097-13CA47D047BD}"/>
              </a:ext>
            </a:extLst>
          </p:cNvPr>
          <p:cNvSpPr/>
          <p:nvPr userDrawn="1"/>
        </p:nvSpPr>
        <p:spPr>
          <a:xfrm>
            <a:off x="4860032" y="1402602"/>
            <a:ext cx="1045557" cy="1045557"/>
          </a:xfrm>
          <a:prstGeom prst="ellipse">
            <a:avLst/>
          </a:prstGeom>
          <a:solidFill>
            <a:schemeClr val="bg1">
              <a:lumMod val="95000"/>
            </a:schemeClr>
          </a:solidFill>
          <a:ln>
            <a:noFill/>
          </a:ln>
          <a:effectLst>
            <a:outerShdw blurRad="38100" dist="38100" dir="2700000" sx="98000" sy="98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 Placeholder 13">
            <a:extLst>
              <a:ext uri="{FF2B5EF4-FFF2-40B4-BE49-F238E27FC236}">
                <a16:creationId xmlns:a16="http://schemas.microsoft.com/office/drawing/2014/main" id="{5881A025-6249-4130-8466-58041BED0278}"/>
              </a:ext>
            </a:extLst>
          </p:cNvPr>
          <p:cNvSpPr>
            <a:spLocks noGrp="1"/>
          </p:cNvSpPr>
          <p:nvPr>
            <p:ph type="body" sz="quarter" idx="10" hasCustomPrompt="1"/>
          </p:nvPr>
        </p:nvSpPr>
        <p:spPr>
          <a:xfrm>
            <a:off x="539750" y="2853562"/>
            <a:ext cx="1882775" cy="1815316"/>
          </a:xfrm>
        </p:spPr>
        <p:txBody>
          <a:bodyPr>
            <a:noAutofit/>
          </a:bodyPr>
          <a:lstStyle>
            <a:lvl1pPr marL="0" indent="0">
              <a:buNone/>
              <a:defRPr sz="1200" b="0">
                <a:solidFill>
                  <a:schemeClr val="tx1"/>
                </a:solidFill>
                <a:latin typeface="Arial Nova Cond" panose="020B0506020202020204" pitchFamily="34" charset="0"/>
              </a:defRPr>
            </a:lvl1pPr>
            <a:lvl2pPr>
              <a:defRPr sz="1000"/>
            </a:lvl2pPr>
            <a:lvl3pPr>
              <a:defRPr sz="1000"/>
            </a:lvl3pPr>
            <a:lvl4pPr>
              <a:defRPr sz="1000"/>
            </a:lvl4pPr>
            <a:lvl5pPr>
              <a:defRPr sz="1000"/>
            </a:lvl5pPr>
          </a:lstStyle>
          <a:p>
            <a:pPr lvl="0"/>
            <a:r>
              <a:rPr lang="en-AU" dirty="0" err="1"/>
              <a:t>Dolor</a:t>
            </a:r>
            <a:r>
              <a:rPr lang="en-AU" dirty="0"/>
              <a:t> sit </a:t>
            </a:r>
            <a:r>
              <a:rPr lang="en-AU" dirty="0" err="1"/>
              <a:t>amet</a:t>
            </a:r>
            <a:r>
              <a:rPr lang="en-AU" dirty="0"/>
              <a:t>, </a:t>
            </a:r>
            <a:r>
              <a:rPr lang="en-AU" dirty="0" err="1"/>
              <a:t>consectetur</a:t>
            </a:r>
            <a:r>
              <a:rPr lang="en-AU" dirty="0"/>
              <a:t> </a:t>
            </a:r>
            <a:r>
              <a:rPr lang="en-AU" dirty="0" err="1"/>
              <a:t>adipiscing</a:t>
            </a:r>
            <a:r>
              <a:rPr lang="en-AU" dirty="0"/>
              <a:t> </a:t>
            </a:r>
            <a:r>
              <a:rPr lang="en-AU" dirty="0" err="1"/>
              <a:t>elit</a:t>
            </a:r>
            <a:r>
              <a:rPr lang="en-AU" dirty="0"/>
              <a:t>, sed do </a:t>
            </a:r>
            <a:r>
              <a:rPr lang="en-AU" dirty="0" err="1"/>
              <a:t>eiusmod</a:t>
            </a:r>
            <a:r>
              <a:rPr lang="en-AU" dirty="0"/>
              <a:t> </a:t>
            </a:r>
            <a:r>
              <a:rPr lang="en-AU" dirty="0" err="1"/>
              <a:t>tempor</a:t>
            </a:r>
            <a:r>
              <a:rPr lang="en-AU" dirty="0"/>
              <a:t> </a:t>
            </a:r>
            <a:r>
              <a:rPr lang="en-AU" dirty="0" err="1"/>
              <a:t>incididunt</a:t>
            </a:r>
            <a:r>
              <a:rPr lang="en-AU" dirty="0"/>
              <a:t> </a:t>
            </a:r>
            <a:r>
              <a:rPr lang="en-AU" dirty="0" err="1"/>
              <a:t>ut</a:t>
            </a:r>
            <a:r>
              <a:rPr lang="en-AU" dirty="0"/>
              <a:t> </a:t>
            </a:r>
            <a:r>
              <a:rPr lang="en-AU" dirty="0" err="1"/>
              <a:t>labore</a:t>
            </a:r>
            <a:r>
              <a:rPr lang="en-AU" dirty="0"/>
              <a:t> et dolore magna </a:t>
            </a:r>
            <a:r>
              <a:rPr lang="en-AU" dirty="0" err="1"/>
              <a:t>aliqua</a:t>
            </a:r>
            <a:r>
              <a:rPr lang="en-AU" dirty="0"/>
              <a:t>. Ut </a:t>
            </a:r>
            <a:r>
              <a:rPr lang="en-AU" dirty="0" err="1"/>
              <a:t>enim</a:t>
            </a:r>
            <a:r>
              <a:rPr lang="en-AU" dirty="0"/>
              <a:t> ad minim </a:t>
            </a:r>
            <a:r>
              <a:rPr lang="en-AU" dirty="0" err="1"/>
              <a:t>veniam</a:t>
            </a:r>
            <a:r>
              <a:rPr lang="en-AU" dirty="0"/>
              <a:t>, </a:t>
            </a:r>
            <a:r>
              <a:rPr lang="en-AU" dirty="0" err="1"/>
              <a:t>quis</a:t>
            </a:r>
            <a:r>
              <a:rPr lang="en-AU" dirty="0"/>
              <a:t> </a:t>
            </a:r>
            <a:r>
              <a:rPr lang="en-AU" dirty="0" err="1"/>
              <a:t>nostrud</a:t>
            </a:r>
            <a:r>
              <a:rPr lang="en-AU" dirty="0"/>
              <a:t> exercitation </a:t>
            </a:r>
            <a:r>
              <a:rPr lang="en-AU" dirty="0" err="1"/>
              <a:t>ullamco</a:t>
            </a:r>
            <a:r>
              <a:rPr lang="en-AU" dirty="0"/>
              <a:t> </a:t>
            </a:r>
            <a:r>
              <a:rPr lang="en-AU" dirty="0" err="1"/>
              <a:t>laboris</a:t>
            </a:r>
            <a:r>
              <a:rPr lang="en-AU" dirty="0"/>
              <a:t> nisi </a:t>
            </a:r>
            <a:r>
              <a:rPr lang="en-AU" dirty="0" err="1"/>
              <a:t>ut</a:t>
            </a:r>
            <a:r>
              <a:rPr lang="en-AU" dirty="0"/>
              <a:t> </a:t>
            </a:r>
            <a:r>
              <a:rPr lang="en-AU" dirty="0" err="1"/>
              <a:t>aliquip</a:t>
            </a:r>
            <a:r>
              <a:rPr lang="en-AU" dirty="0"/>
              <a:t> ex </a:t>
            </a:r>
            <a:r>
              <a:rPr lang="en-AU" dirty="0" err="1"/>
              <a:t>ea</a:t>
            </a:r>
            <a:r>
              <a:rPr lang="en-AU" dirty="0"/>
              <a:t> </a:t>
            </a:r>
            <a:r>
              <a:rPr lang="en-AU" dirty="0" err="1"/>
              <a:t>commodo</a:t>
            </a:r>
            <a:r>
              <a:rPr lang="en-AU" dirty="0"/>
              <a:t> </a:t>
            </a:r>
            <a:r>
              <a:rPr lang="en-AU" dirty="0" err="1"/>
              <a:t>consequat</a:t>
            </a:r>
            <a:r>
              <a:rPr lang="en-AU" dirty="0"/>
              <a:t>.</a:t>
            </a:r>
          </a:p>
          <a:p>
            <a:pPr lvl="0"/>
            <a:endParaRPr lang="en-AU" dirty="0"/>
          </a:p>
        </p:txBody>
      </p:sp>
      <p:sp>
        <p:nvSpPr>
          <p:cNvPr id="18" name="Text Placeholder 13">
            <a:extLst>
              <a:ext uri="{FF2B5EF4-FFF2-40B4-BE49-F238E27FC236}">
                <a16:creationId xmlns:a16="http://schemas.microsoft.com/office/drawing/2014/main" id="{270E165C-15F3-4C64-80C0-8C444A935A1B}"/>
              </a:ext>
            </a:extLst>
          </p:cNvPr>
          <p:cNvSpPr>
            <a:spLocks noGrp="1"/>
          </p:cNvSpPr>
          <p:nvPr>
            <p:ph type="body" sz="quarter" idx="11" hasCustomPrompt="1"/>
          </p:nvPr>
        </p:nvSpPr>
        <p:spPr>
          <a:xfrm>
            <a:off x="2497206" y="2853561"/>
            <a:ext cx="1882775" cy="1815316"/>
          </a:xfrm>
        </p:spPr>
        <p:txBody>
          <a:bodyPr>
            <a:noAutofit/>
          </a:bodyPr>
          <a:lstStyle>
            <a:lvl1pPr marL="0" indent="0">
              <a:buNone/>
              <a:defRPr sz="1200" b="0">
                <a:solidFill>
                  <a:schemeClr val="tx1"/>
                </a:solidFill>
                <a:latin typeface="Arial Nova Cond" panose="020B0506020202020204" pitchFamily="34" charset="0"/>
              </a:defRPr>
            </a:lvl1pPr>
            <a:lvl2pPr>
              <a:defRPr sz="1000"/>
            </a:lvl2pPr>
            <a:lvl3pPr>
              <a:defRPr sz="1000"/>
            </a:lvl3pPr>
            <a:lvl4pPr>
              <a:defRPr sz="1000"/>
            </a:lvl4pPr>
            <a:lvl5pPr>
              <a:defRPr sz="1000"/>
            </a:lvl5pPr>
          </a:lstStyle>
          <a:p>
            <a:pPr lvl="0"/>
            <a:r>
              <a:rPr lang="en-AU" dirty="0" err="1"/>
              <a:t>Dolor</a:t>
            </a:r>
            <a:r>
              <a:rPr lang="en-AU" dirty="0"/>
              <a:t> sit </a:t>
            </a:r>
            <a:r>
              <a:rPr lang="en-AU" dirty="0" err="1"/>
              <a:t>amet</a:t>
            </a:r>
            <a:r>
              <a:rPr lang="en-AU" dirty="0"/>
              <a:t>, </a:t>
            </a:r>
            <a:r>
              <a:rPr lang="en-AU" dirty="0" err="1"/>
              <a:t>consectetur</a:t>
            </a:r>
            <a:r>
              <a:rPr lang="en-AU" dirty="0"/>
              <a:t> </a:t>
            </a:r>
            <a:r>
              <a:rPr lang="en-AU" dirty="0" err="1"/>
              <a:t>adipiscing</a:t>
            </a:r>
            <a:r>
              <a:rPr lang="en-AU" dirty="0"/>
              <a:t> </a:t>
            </a:r>
            <a:r>
              <a:rPr lang="en-AU" dirty="0" err="1"/>
              <a:t>elit</a:t>
            </a:r>
            <a:r>
              <a:rPr lang="en-AU" dirty="0"/>
              <a:t>, sed do </a:t>
            </a:r>
            <a:r>
              <a:rPr lang="en-AU" dirty="0" err="1"/>
              <a:t>eiusmod</a:t>
            </a:r>
            <a:r>
              <a:rPr lang="en-AU" dirty="0"/>
              <a:t> </a:t>
            </a:r>
            <a:r>
              <a:rPr lang="en-AU" dirty="0" err="1"/>
              <a:t>tempor</a:t>
            </a:r>
            <a:r>
              <a:rPr lang="en-AU" dirty="0"/>
              <a:t> </a:t>
            </a:r>
            <a:r>
              <a:rPr lang="en-AU" dirty="0" err="1"/>
              <a:t>incididunt</a:t>
            </a:r>
            <a:r>
              <a:rPr lang="en-AU" dirty="0"/>
              <a:t> </a:t>
            </a:r>
            <a:r>
              <a:rPr lang="en-AU" dirty="0" err="1"/>
              <a:t>ut</a:t>
            </a:r>
            <a:r>
              <a:rPr lang="en-AU" dirty="0"/>
              <a:t> </a:t>
            </a:r>
            <a:r>
              <a:rPr lang="en-AU" dirty="0" err="1"/>
              <a:t>labore</a:t>
            </a:r>
            <a:r>
              <a:rPr lang="en-AU" dirty="0"/>
              <a:t> et dolore magna </a:t>
            </a:r>
            <a:r>
              <a:rPr lang="en-AU" dirty="0" err="1"/>
              <a:t>aliqua</a:t>
            </a:r>
            <a:r>
              <a:rPr lang="en-AU" dirty="0"/>
              <a:t>. Ut </a:t>
            </a:r>
            <a:r>
              <a:rPr lang="en-AU" dirty="0" err="1"/>
              <a:t>enim</a:t>
            </a:r>
            <a:r>
              <a:rPr lang="en-AU" dirty="0"/>
              <a:t> ad minim </a:t>
            </a:r>
            <a:r>
              <a:rPr lang="en-AU" dirty="0" err="1"/>
              <a:t>veniam</a:t>
            </a:r>
            <a:r>
              <a:rPr lang="en-AU" dirty="0"/>
              <a:t>, </a:t>
            </a:r>
            <a:r>
              <a:rPr lang="en-AU" dirty="0" err="1"/>
              <a:t>quis</a:t>
            </a:r>
            <a:r>
              <a:rPr lang="en-AU" dirty="0"/>
              <a:t> </a:t>
            </a:r>
            <a:r>
              <a:rPr lang="en-AU" dirty="0" err="1"/>
              <a:t>nostrud</a:t>
            </a:r>
            <a:r>
              <a:rPr lang="en-AU" dirty="0"/>
              <a:t> exercitation </a:t>
            </a:r>
            <a:r>
              <a:rPr lang="en-AU" dirty="0" err="1"/>
              <a:t>ullamco</a:t>
            </a:r>
            <a:r>
              <a:rPr lang="en-AU" dirty="0"/>
              <a:t> </a:t>
            </a:r>
            <a:r>
              <a:rPr lang="en-AU" dirty="0" err="1"/>
              <a:t>laboris</a:t>
            </a:r>
            <a:r>
              <a:rPr lang="en-AU" dirty="0"/>
              <a:t> nisi </a:t>
            </a:r>
            <a:r>
              <a:rPr lang="en-AU" dirty="0" err="1"/>
              <a:t>ut</a:t>
            </a:r>
            <a:r>
              <a:rPr lang="en-AU" dirty="0"/>
              <a:t> </a:t>
            </a:r>
            <a:r>
              <a:rPr lang="en-AU" dirty="0" err="1"/>
              <a:t>aliquip</a:t>
            </a:r>
            <a:r>
              <a:rPr lang="en-AU" dirty="0"/>
              <a:t> ex </a:t>
            </a:r>
            <a:r>
              <a:rPr lang="en-AU" dirty="0" err="1"/>
              <a:t>ea</a:t>
            </a:r>
            <a:r>
              <a:rPr lang="en-AU" dirty="0"/>
              <a:t> </a:t>
            </a:r>
            <a:r>
              <a:rPr lang="en-AU" dirty="0" err="1"/>
              <a:t>commodo</a:t>
            </a:r>
            <a:r>
              <a:rPr lang="en-AU" dirty="0"/>
              <a:t> </a:t>
            </a:r>
            <a:r>
              <a:rPr lang="en-AU" dirty="0" err="1"/>
              <a:t>consequat</a:t>
            </a:r>
            <a:r>
              <a:rPr lang="en-AU" dirty="0"/>
              <a:t>.</a:t>
            </a:r>
          </a:p>
          <a:p>
            <a:pPr lvl="0"/>
            <a:endParaRPr lang="en-AU" dirty="0"/>
          </a:p>
        </p:txBody>
      </p:sp>
      <p:sp>
        <p:nvSpPr>
          <p:cNvPr id="19" name="Text Placeholder 13">
            <a:extLst>
              <a:ext uri="{FF2B5EF4-FFF2-40B4-BE49-F238E27FC236}">
                <a16:creationId xmlns:a16="http://schemas.microsoft.com/office/drawing/2014/main" id="{3D0C1BCB-DD00-439B-8DF4-9F9DD0FD764E}"/>
              </a:ext>
            </a:extLst>
          </p:cNvPr>
          <p:cNvSpPr>
            <a:spLocks noGrp="1"/>
          </p:cNvSpPr>
          <p:nvPr>
            <p:ph type="body" sz="quarter" idx="12" hasCustomPrompt="1"/>
          </p:nvPr>
        </p:nvSpPr>
        <p:spPr>
          <a:xfrm>
            <a:off x="4441422" y="2853560"/>
            <a:ext cx="1882775" cy="1815316"/>
          </a:xfrm>
        </p:spPr>
        <p:txBody>
          <a:bodyPr>
            <a:noAutofit/>
          </a:bodyPr>
          <a:lstStyle>
            <a:lvl1pPr marL="0" indent="0">
              <a:buNone/>
              <a:defRPr sz="1200" b="0">
                <a:solidFill>
                  <a:schemeClr val="tx1"/>
                </a:solidFill>
                <a:latin typeface="Arial Nova Cond" panose="020B0506020202020204" pitchFamily="34" charset="0"/>
              </a:defRPr>
            </a:lvl1pPr>
            <a:lvl2pPr>
              <a:defRPr sz="1000"/>
            </a:lvl2pPr>
            <a:lvl3pPr>
              <a:defRPr sz="1000"/>
            </a:lvl3pPr>
            <a:lvl4pPr>
              <a:defRPr sz="1000"/>
            </a:lvl4pPr>
            <a:lvl5pPr>
              <a:defRPr sz="1000"/>
            </a:lvl5pPr>
          </a:lstStyle>
          <a:p>
            <a:pPr lvl="0"/>
            <a:r>
              <a:rPr lang="en-AU" dirty="0" err="1"/>
              <a:t>Dolor</a:t>
            </a:r>
            <a:r>
              <a:rPr lang="en-AU" dirty="0"/>
              <a:t> sit </a:t>
            </a:r>
            <a:r>
              <a:rPr lang="en-AU" dirty="0" err="1"/>
              <a:t>amet</a:t>
            </a:r>
            <a:r>
              <a:rPr lang="en-AU" dirty="0"/>
              <a:t>, </a:t>
            </a:r>
            <a:r>
              <a:rPr lang="en-AU" dirty="0" err="1"/>
              <a:t>consectetur</a:t>
            </a:r>
            <a:r>
              <a:rPr lang="en-AU" dirty="0"/>
              <a:t> </a:t>
            </a:r>
            <a:r>
              <a:rPr lang="en-AU" dirty="0" err="1"/>
              <a:t>adipiscing</a:t>
            </a:r>
            <a:r>
              <a:rPr lang="en-AU" dirty="0"/>
              <a:t> </a:t>
            </a:r>
            <a:r>
              <a:rPr lang="en-AU" dirty="0" err="1"/>
              <a:t>elit</a:t>
            </a:r>
            <a:r>
              <a:rPr lang="en-AU" dirty="0"/>
              <a:t>, sed do </a:t>
            </a:r>
            <a:r>
              <a:rPr lang="en-AU" dirty="0" err="1"/>
              <a:t>eiusmod</a:t>
            </a:r>
            <a:r>
              <a:rPr lang="en-AU" dirty="0"/>
              <a:t> </a:t>
            </a:r>
            <a:r>
              <a:rPr lang="en-AU" dirty="0" err="1"/>
              <a:t>tempor</a:t>
            </a:r>
            <a:r>
              <a:rPr lang="en-AU" dirty="0"/>
              <a:t> </a:t>
            </a:r>
            <a:r>
              <a:rPr lang="en-AU" dirty="0" err="1"/>
              <a:t>incididunt</a:t>
            </a:r>
            <a:r>
              <a:rPr lang="en-AU" dirty="0"/>
              <a:t> </a:t>
            </a:r>
            <a:r>
              <a:rPr lang="en-AU" dirty="0" err="1"/>
              <a:t>ut</a:t>
            </a:r>
            <a:r>
              <a:rPr lang="en-AU" dirty="0"/>
              <a:t> </a:t>
            </a:r>
            <a:r>
              <a:rPr lang="en-AU" dirty="0" err="1"/>
              <a:t>labore</a:t>
            </a:r>
            <a:r>
              <a:rPr lang="en-AU" dirty="0"/>
              <a:t> et dolore magna </a:t>
            </a:r>
            <a:r>
              <a:rPr lang="en-AU" dirty="0" err="1"/>
              <a:t>aliqua</a:t>
            </a:r>
            <a:r>
              <a:rPr lang="en-AU" dirty="0"/>
              <a:t>. Ut </a:t>
            </a:r>
            <a:r>
              <a:rPr lang="en-AU" dirty="0" err="1"/>
              <a:t>enim</a:t>
            </a:r>
            <a:r>
              <a:rPr lang="en-AU" dirty="0"/>
              <a:t> ad minim </a:t>
            </a:r>
            <a:r>
              <a:rPr lang="en-AU" dirty="0" err="1"/>
              <a:t>veniam</a:t>
            </a:r>
            <a:r>
              <a:rPr lang="en-AU" dirty="0"/>
              <a:t>, </a:t>
            </a:r>
            <a:r>
              <a:rPr lang="en-AU" dirty="0" err="1"/>
              <a:t>quis</a:t>
            </a:r>
            <a:r>
              <a:rPr lang="en-AU" dirty="0"/>
              <a:t> </a:t>
            </a:r>
            <a:r>
              <a:rPr lang="en-AU" dirty="0" err="1"/>
              <a:t>nostrud</a:t>
            </a:r>
            <a:r>
              <a:rPr lang="en-AU" dirty="0"/>
              <a:t> exercitation </a:t>
            </a:r>
            <a:r>
              <a:rPr lang="en-AU" dirty="0" err="1"/>
              <a:t>ullamco</a:t>
            </a:r>
            <a:r>
              <a:rPr lang="en-AU" dirty="0"/>
              <a:t> </a:t>
            </a:r>
            <a:r>
              <a:rPr lang="en-AU" dirty="0" err="1"/>
              <a:t>laboris</a:t>
            </a:r>
            <a:r>
              <a:rPr lang="en-AU" dirty="0"/>
              <a:t> nisi </a:t>
            </a:r>
            <a:r>
              <a:rPr lang="en-AU" dirty="0" err="1"/>
              <a:t>ut</a:t>
            </a:r>
            <a:r>
              <a:rPr lang="en-AU" dirty="0"/>
              <a:t> </a:t>
            </a:r>
            <a:r>
              <a:rPr lang="en-AU" dirty="0" err="1"/>
              <a:t>aliquip</a:t>
            </a:r>
            <a:r>
              <a:rPr lang="en-AU" dirty="0"/>
              <a:t> ex </a:t>
            </a:r>
            <a:r>
              <a:rPr lang="en-AU" dirty="0" err="1"/>
              <a:t>ea</a:t>
            </a:r>
            <a:r>
              <a:rPr lang="en-AU" dirty="0"/>
              <a:t> </a:t>
            </a:r>
            <a:r>
              <a:rPr lang="en-AU" dirty="0" err="1"/>
              <a:t>commodo</a:t>
            </a:r>
            <a:r>
              <a:rPr lang="en-AU" dirty="0"/>
              <a:t> </a:t>
            </a:r>
            <a:r>
              <a:rPr lang="en-AU" dirty="0" err="1"/>
              <a:t>consequat</a:t>
            </a:r>
            <a:r>
              <a:rPr lang="en-AU" dirty="0"/>
              <a:t>.</a:t>
            </a:r>
          </a:p>
          <a:p>
            <a:pPr lvl="0"/>
            <a:endParaRPr lang="en-AU" dirty="0"/>
          </a:p>
        </p:txBody>
      </p:sp>
      <p:sp>
        <p:nvSpPr>
          <p:cNvPr id="11" name="Oval 10">
            <a:extLst>
              <a:ext uri="{FF2B5EF4-FFF2-40B4-BE49-F238E27FC236}">
                <a16:creationId xmlns:a16="http://schemas.microsoft.com/office/drawing/2014/main" id="{9C780C62-CBFC-41DA-A9C4-DC35D6FA8C0B}"/>
              </a:ext>
            </a:extLst>
          </p:cNvPr>
          <p:cNvSpPr/>
          <p:nvPr userDrawn="1"/>
        </p:nvSpPr>
        <p:spPr>
          <a:xfrm>
            <a:off x="6804248" y="1399071"/>
            <a:ext cx="1045557" cy="1045557"/>
          </a:xfrm>
          <a:prstGeom prst="ellipse">
            <a:avLst/>
          </a:prstGeom>
          <a:solidFill>
            <a:schemeClr val="bg1">
              <a:lumMod val="95000"/>
            </a:schemeClr>
          </a:solidFill>
          <a:ln>
            <a:noFill/>
          </a:ln>
          <a:effectLst>
            <a:outerShdw blurRad="38100" dist="38100" dir="2700000" sx="98000" sy="98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Text Placeholder 13">
            <a:extLst>
              <a:ext uri="{FF2B5EF4-FFF2-40B4-BE49-F238E27FC236}">
                <a16:creationId xmlns:a16="http://schemas.microsoft.com/office/drawing/2014/main" id="{5E5BAEAD-CC87-46C9-BDCE-5BE2F5D17336}"/>
              </a:ext>
            </a:extLst>
          </p:cNvPr>
          <p:cNvSpPr>
            <a:spLocks noGrp="1"/>
          </p:cNvSpPr>
          <p:nvPr>
            <p:ph type="body" sz="quarter" idx="13" hasCustomPrompt="1"/>
          </p:nvPr>
        </p:nvSpPr>
        <p:spPr>
          <a:xfrm>
            <a:off x="6385638" y="2850029"/>
            <a:ext cx="1882775" cy="1815316"/>
          </a:xfrm>
        </p:spPr>
        <p:txBody>
          <a:bodyPr>
            <a:noAutofit/>
          </a:bodyPr>
          <a:lstStyle>
            <a:lvl1pPr marL="0" indent="0">
              <a:buNone/>
              <a:defRPr sz="1200" b="0">
                <a:solidFill>
                  <a:schemeClr val="tx1"/>
                </a:solidFill>
                <a:latin typeface="Arial Nova Cond" panose="020B0506020202020204" pitchFamily="34" charset="0"/>
              </a:defRPr>
            </a:lvl1pPr>
            <a:lvl2pPr>
              <a:defRPr sz="1000"/>
            </a:lvl2pPr>
            <a:lvl3pPr>
              <a:defRPr sz="1000"/>
            </a:lvl3pPr>
            <a:lvl4pPr>
              <a:defRPr sz="1000"/>
            </a:lvl4pPr>
            <a:lvl5pPr>
              <a:defRPr sz="1000"/>
            </a:lvl5pPr>
          </a:lstStyle>
          <a:p>
            <a:pPr lvl="0"/>
            <a:r>
              <a:rPr lang="en-AU" dirty="0" err="1"/>
              <a:t>Dolor</a:t>
            </a:r>
            <a:r>
              <a:rPr lang="en-AU" dirty="0"/>
              <a:t> sit </a:t>
            </a:r>
            <a:r>
              <a:rPr lang="en-AU" dirty="0" err="1"/>
              <a:t>amet</a:t>
            </a:r>
            <a:r>
              <a:rPr lang="en-AU" dirty="0"/>
              <a:t>, </a:t>
            </a:r>
            <a:r>
              <a:rPr lang="en-AU" dirty="0" err="1"/>
              <a:t>consectetur</a:t>
            </a:r>
            <a:r>
              <a:rPr lang="en-AU" dirty="0"/>
              <a:t> </a:t>
            </a:r>
            <a:r>
              <a:rPr lang="en-AU" dirty="0" err="1"/>
              <a:t>adipiscing</a:t>
            </a:r>
            <a:r>
              <a:rPr lang="en-AU" dirty="0"/>
              <a:t> </a:t>
            </a:r>
            <a:r>
              <a:rPr lang="en-AU" dirty="0" err="1"/>
              <a:t>elit</a:t>
            </a:r>
            <a:r>
              <a:rPr lang="en-AU" dirty="0"/>
              <a:t>, sed do </a:t>
            </a:r>
            <a:r>
              <a:rPr lang="en-AU" dirty="0" err="1"/>
              <a:t>eiusmod</a:t>
            </a:r>
            <a:r>
              <a:rPr lang="en-AU" dirty="0"/>
              <a:t> </a:t>
            </a:r>
            <a:r>
              <a:rPr lang="en-AU" dirty="0" err="1"/>
              <a:t>tempor</a:t>
            </a:r>
            <a:r>
              <a:rPr lang="en-AU" dirty="0"/>
              <a:t> </a:t>
            </a:r>
            <a:r>
              <a:rPr lang="en-AU" dirty="0" err="1"/>
              <a:t>incididunt</a:t>
            </a:r>
            <a:r>
              <a:rPr lang="en-AU" dirty="0"/>
              <a:t> </a:t>
            </a:r>
            <a:r>
              <a:rPr lang="en-AU" dirty="0" err="1"/>
              <a:t>ut</a:t>
            </a:r>
            <a:r>
              <a:rPr lang="en-AU" dirty="0"/>
              <a:t> </a:t>
            </a:r>
            <a:r>
              <a:rPr lang="en-AU" dirty="0" err="1"/>
              <a:t>labore</a:t>
            </a:r>
            <a:r>
              <a:rPr lang="en-AU" dirty="0"/>
              <a:t> et dolore magna </a:t>
            </a:r>
            <a:r>
              <a:rPr lang="en-AU" dirty="0" err="1"/>
              <a:t>aliqua</a:t>
            </a:r>
            <a:r>
              <a:rPr lang="en-AU" dirty="0"/>
              <a:t>. Ut </a:t>
            </a:r>
            <a:r>
              <a:rPr lang="en-AU" dirty="0" err="1"/>
              <a:t>enim</a:t>
            </a:r>
            <a:r>
              <a:rPr lang="en-AU" dirty="0"/>
              <a:t> ad minim </a:t>
            </a:r>
            <a:r>
              <a:rPr lang="en-AU" dirty="0" err="1"/>
              <a:t>veniam</a:t>
            </a:r>
            <a:r>
              <a:rPr lang="en-AU" dirty="0"/>
              <a:t>, </a:t>
            </a:r>
            <a:r>
              <a:rPr lang="en-AU" dirty="0" err="1"/>
              <a:t>quis</a:t>
            </a:r>
            <a:r>
              <a:rPr lang="en-AU" dirty="0"/>
              <a:t> </a:t>
            </a:r>
            <a:r>
              <a:rPr lang="en-AU" dirty="0" err="1"/>
              <a:t>nostrud</a:t>
            </a:r>
            <a:r>
              <a:rPr lang="en-AU" dirty="0"/>
              <a:t> exercitation </a:t>
            </a:r>
            <a:r>
              <a:rPr lang="en-AU" dirty="0" err="1"/>
              <a:t>ullamco</a:t>
            </a:r>
            <a:r>
              <a:rPr lang="en-AU" dirty="0"/>
              <a:t> </a:t>
            </a:r>
            <a:r>
              <a:rPr lang="en-AU" dirty="0" err="1"/>
              <a:t>laboris</a:t>
            </a:r>
            <a:r>
              <a:rPr lang="en-AU" dirty="0"/>
              <a:t> nisi </a:t>
            </a:r>
            <a:r>
              <a:rPr lang="en-AU" dirty="0" err="1"/>
              <a:t>ut</a:t>
            </a:r>
            <a:r>
              <a:rPr lang="en-AU" dirty="0"/>
              <a:t> </a:t>
            </a:r>
            <a:r>
              <a:rPr lang="en-AU" dirty="0" err="1"/>
              <a:t>aliquip</a:t>
            </a:r>
            <a:r>
              <a:rPr lang="en-AU" dirty="0"/>
              <a:t> ex </a:t>
            </a:r>
            <a:r>
              <a:rPr lang="en-AU" dirty="0" err="1"/>
              <a:t>ea</a:t>
            </a:r>
            <a:r>
              <a:rPr lang="en-AU" dirty="0"/>
              <a:t> </a:t>
            </a:r>
            <a:r>
              <a:rPr lang="en-AU" dirty="0" err="1"/>
              <a:t>commodo</a:t>
            </a:r>
            <a:r>
              <a:rPr lang="en-AU" dirty="0"/>
              <a:t> </a:t>
            </a:r>
            <a:r>
              <a:rPr lang="en-AU" dirty="0" err="1"/>
              <a:t>consequat</a:t>
            </a:r>
            <a:r>
              <a:rPr lang="en-AU" dirty="0"/>
              <a:t>.</a:t>
            </a:r>
          </a:p>
          <a:p>
            <a:pPr lvl="0"/>
            <a:endParaRPr lang="en-AU" dirty="0"/>
          </a:p>
        </p:txBody>
      </p:sp>
      <p:sp>
        <p:nvSpPr>
          <p:cNvPr id="15" name="TextBox 14">
            <a:extLst>
              <a:ext uri="{FF2B5EF4-FFF2-40B4-BE49-F238E27FC236}">
                <a16:creationId xmlns:a16="http://schemas.microsoft.com/office/drawing/2014/main" id="{788D4311-C7E4-4E67-85C2-0568E2E98607}"/>
              </a:ext>
            </a:extLst>
          </p:cNvPr>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1131284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9112724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754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161869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95623263"/>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48566"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858446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5948287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49590"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79542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00921868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0614"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48490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19669929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163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1" name="TextBox 10"/>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3665225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6340902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2662"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152251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325777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368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50048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70026475"/>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471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50D1A4DD-1E19-45BF-AC08-5F583FB65A1B}"/>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695946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3489565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73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1" name="Group 50"/>
          <p:cNvGrpSpPr/>
          <p:nvPr userDrawn="1"/>
        </p:nvGrpSpPr>
        <p:grpSpPr>
          <a:xfrm>
            <a:off x="900" y="-1949"/>
            <a:ext cx="9142200" cy="5152160"/>
            <a:chOff x="900" y="-1949"/>
            <a:chExt cx="9142200" cy="5152160"/>
          </a:xfrm>
        </p:grpSpPr>
        <p:sp>
          <p:nvSpPr>
            <p:cNvPr id="52"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3"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4"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5"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9" name="Gutter space"/>
            <p:cNvGrpSpPr/>
            <p:nvPr/>
          </p:nvGrpSpPr>
          <p:grpSpPr>
            <a:xfrm>
              <a:off x="951744" y="470043"/>
              <a:ext cx="7215368" cy="4119894"/>
              <a:chOff x="2322513" y="1258888"/>
              <a:chExt cx="7543800" cy="4341813"/>
            </a:xfrm>
            <a:solidFill>
              <a:schemeClr val="accent5">
                <a:alpha val="15000"/>
              </a:schemeClr>
            </a:solidFill>
          </p:grpSpPr>
          <p:sp>
            <p:nvSpPr>
              <p:cNvPr id="8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8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4"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60" name="Group 59"/>
            <p:cNvGrpSpPr/>
            <p:nvPr/>
          </p:nvGrpSpPr>
          <p:grpSpPr>
            <a:xfrm>
              <a:off x="900" y="470043"/>
              <a:ext cx="9142200" cy="4119894"/>
              <a:chOff x="900" y="470043"/>
              <a:chExt cx="9142200" cy="4119894"/>
            </a:xfrm>
          </p:grpSpPr>
          <p:sp>
            <p:nvSpPr>
              <p:cNvPr id="6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6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7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8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6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6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39728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9761906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6758"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041111" y="3521648"/>
            <a:ext cx="697003" cy="747597"/>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2" name="Rectangle 11"/>
          <p:cNvSpPr/>
          <p:nvPr userDrawn="1">
            <p:custDataLst>
              <p:tags r:id="rId4"/>
            </p:custDataLst>
          </p:nvPr>
        </p:nvSpPr>
        <p:spPr>
          <a:xfrm>
            <a:off x="1882112" y="3521648"/>
            <a:ext cx="1177614" cy="110215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2" name="TextBox 1"/>
          <p:cNvSpPr txBox="1"/>
          <p:nvPr userDrawn="1"/>
        </p:nvSpPr>
        <p:spPr>
          <a:xfrm>
            <a:off x="472500" y="681029"/>
            <a:ext cx="2586600" cy="262218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sym typeface="+mn-lt"/>
            </a:endParaRPr>
          </a:p>
        </p:txBody>
      </p:sp>
      <p:sp>
        <p:nvSpPr>
          <p:cNvPr id="10" name="TextBox 1"/>
          <p:cNvSpPr txBox="1"/>
          <p:nvPr userDrawn="1"/>
        </p:nvSpPr>
        <p:spPr>
          <a:xfrm>
            <a:off x="877052" y="837337"/>
            <a:ext cx="1776961" cy="684418"/>
          </a:xfrm>
          <a:prstGeom prst="rect">
            <a:avLst/>
          </a:prstGeom>
          <a:noFill/>
        </p:spPr>
        <p:txBody>
          <a:bodyPr wrap="none" rtlCol="0">
            <a:spAutoFit/>
          </a:bodyPr>
          <a:lstStyle/>
          <a:p>
            <a:pPr algn="ctr" fontAlgn="auto">
              <a:lnSpc>
                <a:spcPct val="95000"/>
              </a:lnSpc>
              <a:spcBef>
                <a:spcPts val="0"/>
              </a:spcBef>
              <a:spcAft>
                <a:spcPts val="0"/>
              </a:spcAft>
            </a:pPr>
            <a:r>
              <a:rPr lang="en-US" sz="40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8114035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bg>
      <p:bgPr>
        <a:blipFill dpi="0" rotWithShape="1">
          <a:blip r:embed="rId2">
            <a:alphaModFix amt="40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736AB-07F7-4AB2-A214-A28D7E113D23}"/>
              </a:ext>
            </a:extLst>
          </p:cNvPr>
          <p:cNvSpPr>
            <a:spLocks noGrp="1"/>
          </p:cNvSpPr>
          <p:nvPr>
            <p:ph type="title"/>
          </p:nvPr>
        </p:nvSpPr>
        <p:spPr/>
        <p:txBody>
          <a:bodyPr/>
          <a:lstStyle>
            <a:lvl1pPr>
              <a:defRPr b="1">
                <a:solidFill>
                  <a:srgbClr val="002D3F"/>
                </a:solidFill>
                <a:latin typeface="Arial Nova" panose="020B0504020202020204" pitchFamily="34" charset="0"/>
              </a:defRPr>
            </a:lvl1pPr>
          </a:lstStyle>
          <a:p>
            <a:r>
              <a:rPr lang="en-US" dirty="0"/>
              <a:t>Click to edit Master title style</a:t>
            </a:r>
            <a:endParaRPr lang="en-AU" dirty="0"/>
          </a:p>
        </p:txBody>
      </p:sp>
      <p:sp>
        <p:nvSpPr>
          <p:cNvPr id="4" name="Oval 3">
            <a:extLst>
              <a:ext uri="{FF2B5EF4-FFF2-40B4-BE49-F238E27FC236}">
                <a16:creationId xmlns:a16="http://schemas.microsoft.com/office/drawing/2014/main" id="{6FC8D74C-FFAD-44D9-8C21-E6BE6DA82BF5}"/>
              </a:ext>
            </a:extLst>
          </p:cNvPr>
          <p:cNvSpPr/>
          <p:nvPr userDrawn="1"/>
        </p:nvSpPr>
        <p:spPr>
          <a:xfrm>
            <a:off x="1124513" y="1450478"/>
            <a:ext cx="1265124" cy="1265124"/>
          </a:xfrm>
          <a:prstGeom prst="ellipse">
            <a:avLst/>
          </a:prstGeom>
          <a:solidFill>
            <a:schemeClr val="bg1">
              <a:lumMod val="95000"/>
            </a:schemeClr>
          </a:solidFill>
          <a:ln>
            <a:noFill/>
          </a:ln>
          <a:effectLst>
            <a:outerShdw blurRad="38100" dist="38100" dir="2700000" sx="98000" sy="98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Oval 4">
            <a:extLst>
              <a:ext uri="{FF2B5EF4-FFF2-40B4-BE49-F238E27FC236}">
                <a16:creationId xmlns:a16="http://schemas.microsoft.com/office/drawing/2014/main" id="{B55262E2-0900-426C-87E2-D26872F88BFE}"/>
              </a:ext>
            </a:extLst>
          </p:cNvPr>
          <p:cNvSpPr/>
          <p:nvPr userDrawn="1"/>
        </p:nvSpPr>
        <p:spPr>
          <a:xfrm>
            <a:off x="3825263" y="1450477"/>
            <a:ext cx="1265124" cy="1265124"/>
          </a:xfrm>
          <a:prstGeom prst="ellipse">
            <a:avLst/>
          </a:prstGeom>
          <a:solidFill>
            <a:schemeClr val="bg1">
              <a:lumMod val="95000"/>
            </a:schemeClr>
          </a:solidFill>
          <a:ln>
            <a:noFill/>
          </a:ln>
          <a:effectLst>
            <a:outerShdw blurRad="38100" dist="38100" dir="2700000" sx="98000" sy="98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Oval 5">
            <a:extLst>
              <a:ext uri="{FF2B5EF4-FFF2-40B4-BE49-F238E27FC236}">
                <a16:creationId xmlns:a16="http://schemas.microsoft.com/office/drawing/2014/main" id="{E1EE1EEA-9BF3-4096-A097-13CA47D047BD}"/>
              </a:ext>
            </a:extLst>
          </p:cNvPr>
          <p:cNvSpPr/>
          <p:nvPr userDrawn="1"/>
        </p:nvSpPr>
        <p:spPr>
          <a:xfrm>
            <a:off x="6526013" y="1450477"/>
            <a:ext cx="1265124" cy="1265124"/>
          </a:xfrm>
          <a:prstGeom prst="ellipse">
            <a:avLst/>
          </a:prstGeom>
          <a:solidFill>
            <a:schemeClr val="bg1">
              <a:lumMod val="95000"/>
            </a:schemeClr>
          </a:solidFill>
          <a:ln>
            <a:noFill/>
          </a:ln>
          <a:effectLst>
            <a:outerShdw blurRad="38100" dist="38100" dir="2700000" sx="98000" sy="98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 name="Text Placeholder 13">
            <a:extLst>
              <a:ext uri="{FF2B5EF4-FFF2-40B4-BE49-F238E27FC236}">
                <a16:creationId xmlns:a16="http://schemas.microsoft.com/office/drawing/2014/main" id="{5881A025-6249-4130-8466-58041BED0278}"/>
              </a:ext>
            </a:extLst>
          </p:cNvPr>
          <p:cNvSpPr>
            <a:spLocks noGrp="1"/>
          </p:cNvSpPr>
          <p:nvPr>
            <p:ph type="body" sz="quarter" idx="10" hasCustomPrompt="1"/>
          </p:nvPr>
        </p:nvSpPr>
        <p:spPr>
          <a:xfrm>
            <a:off x="504089" y="2853562"/>
            <a:ext cx="2505974" cy="1815316"/>
          </a:xfrm>
        </p:spPr>
        <p:txBody>
          <a:bodyPr>
            <a:noAutofit/>
          </a:bodyPr>
          <a:lstStyle>
            <a:lvl1pPr marL="0" indent="0">
              <a:buNone/>
              <a:defRPr sz="1200" b="0">
                <a:solidFill>
                  <a:schemeClr val="tx1"/>
                </a:solidFill>
                <a:latin typeface="Arial Nova Cond" panose="020B0506020202020204" pitchFamily="34" charset="0"/>
              </a:defRPr>
            </a:lvl1pPr>
            <a:lvl2pPr>
              <a:defRPr sz="1000"/>
            </a:lvl2pPr>
            <a:lvl3pPr>
              <a:defRPr sz="1000"/>
            </a:lvl3pPr>
            <a:lvl4pPr>
              <a:defRPr sz="1000"/>
            </a:lvl4pPr>
            <a:lvl5pPr>
              <a:defRPr sz="1000"/>
            </a:lvl5pPr>
          </a:lstStyle>
          <a:p>
            <a:pPr lvl="0"/>
            <a:r>
              <a:rPr lang="en-AU" dirty="0" err="1"/>
              <a:t>Dolor</a:t>
            </a:r>
            <a:r>
              <a:rPr lang="en-AU" dirty="0"/>
              <a:t> sit </a:t>
            </a:r>
            <a:r>
              <a:rPr lang="en-AU" dirty="0" err="1"/>
              <a:t>amet</a:t>
            </a:r>
            <a:r>
              <a:rPr lang="en-AU" dirty="0"/>
              <a:t>, </a:t>
            </a:r>
            <a:r>
              <a:rPr lang="en-AU" dirty="0" err="1"/>
              <a:t>consectetur</a:t>
            </a:r>
            <a:r>
              <a:rPr lang="en-AU" dirty="0"/>
              <a:t> </a:t>
            </a:r>
            <a:r>
              <a:rPr lang="en-AU" dirty="0" err="1"/>
              <a:t>adipiscing</a:t>
            </a:r>
            <a:r>
              <a:rPr lang="en-AU" dirty="0"/>
              <a:t> </a:t>
            </a:r>
            <a:r>
              <a:rPr lang="en-AU" dirty="0" err="1"/>
              <a:t>elit</a:t>
            </a:r>
            <a:r>
              <a:rPr lang="en-AU" dirty="0"/>
              <a:t>, sed do </a:t>
            </a:r>
            <a:r>
              <a:rPr lang="en-AU" dirty="0" err="1"/>
              <a:t>eiusmod</a:t>
            </a:r>
            <a:r>
              <a:rPr lang="en-AU" dirty="0"/>
              <a:t> </a:t>
            </a:r>
            <a:r>
              <a:rPr lang="en-AU" dirty="0" err="1"/>
              <a:t>tempor</a:t>
            </a:r>
            <a:r>
              <a:rPr lang="en-AU" dirty="0"/>
              <a:t> </a:t>
            </a:r>
            <a:r>
              <a:rPr lang="en-AU" dirty="0" err="1"/>
              <a:t>incididunt</a:t>
            </a:r>
            <a:r>
              <a:rPr lang="en-AU" dirty="0"/>
              <a:t> </a:t>
            </a:r>
            <a:r>
              <a:rPr lang="en-AU" dirty="0" err="1"/>
              <a:t>ut</a:t>
            </a:r>
            <a:r>
              <a:rPr lang="en-AU" dirty="0"/>
              <a:t> </a:t>
            </a:r>
            <a:r>
              <a:rPr lang="en-AU" dirty="0" err="1"/>
              <a:t>labore</a:t>
            </a:r>
            <a:r>
              <a:rPr lang="en-AU" dirty="0"/>
              <a:t> et dolore magna </a:t>
            </a:r>
            <a:r>
              <a:rPr lang="en-AU" dirty="0" err="1"/>
              <a:t>aliqua</a:t>
            </a:r>
            <a:r>
              <a:rPr lang="en-AU" dirty="0"/>
              <a:t>. Ut </a:t>
            </a:r>
            <a:r>
              <a:rPr lang="en-AU" dirty="0" err="1"/>
              <a:t>enim</a:t>
            </a:r>
            <a:r>
              <a:rPr lang="en-AU" dirty="0"/>
              <a:t> ad minim </a:t>
            </a:r>
            <a:r>
              <a:rPr lang="en-AU" dirty="0" err="1"/>
              <a:t>veniam</a:t>
            </a:r>
            <a:r>
              <a:rPr lang="en-AU" dirty="0"/>
              <a:t>, </a:t>
            </a:r>
            <a:r>
              <a:rPr lang="en-AU" dirty="0" err="1"/>
              <a:t>quis</a:t>
            </a:r>
            <a:r>
              <a:rPr lang="en-AU" dirty="0"/>
              <a:t> </a:t>
            </a:r>
            <a:r>
              <a:rPr lang="en-AU" dirty="0" err="1"/>
              <a:t>nostrud</a:t>
            </a:r>
            <a:r>
              <a:rPr lang="en-AU" dirty="0"/>
              <a:t> exercitation </a:t>
            </a:r>
            <a:r>
              <a:rPr lang="en-AU" dirty="0" err="1"/>
              <a:t>ullamco</a:t>
            </a:r>
            <a:r>
              <a:rPr lang="en-AU" dirty="0"/>
              <a:t> </a:t>
            </a:r>
            <a:r>
              <a:rPr lang="en-AU" dirty="0" err="1"/>
              <a:t>laboris</a:t>
            </a:r>
            <a:r>
              <a:rPr lang="en-AU" dirty="0"/>
              <a:t> nisi </a:t>
            </a:r>
            <a:r>
              <a:rPr lang="en-AU" dirty="0" err="1"/>
              <a:t>ut</a:t>
            </a:r>
            <a:r>
              <a:rPr lang="en-AU" dirty="0"/>
              <a:t> </a:t>
            </a:r>
            <a:r>
              <a:rPr lang="en-AU" dirty="0" err="1"/>
              <a:t>aliquip</a:t>
            </a:r>
            <a:r>
              <a:rPr lang="en-AU" dirty="0"/>
              <a:t> ex </a:t>
            </a:r>
            <a:r>
              <a:rPr lang="en-AU" dirty="0" err="1"/>
              <a:t>ea</a:t>
            </a:r>
            <a:r>
              <a:rPr lang="en-AU" dirty="0"/>
              <a:t> </a:t>
            </a:r>
            <a:r>
              <a:rPr lang="en-AU" dirty="0" err="1"/>
              <a:t>commodo</a:t>
            </a:r>
            <a:r>
              <a:rPr lang="en-AU" dirty="0"/>
              <a:t> </a:t>
            </a:r>
            <a:r>
              <a:rPr lang="en-AU" dirty="0" err="1"/>
              <a:t>consequat</a:t>
            </a:r>
            <a:r>
              <a:rPr lang="en-AU" dirty="0"/>
              <a:t>.</a:t>
            </a:r>
          </a:p>
          <a:p>
            <a:pPr lvl="0"/>
            <a:endParaRPr lang="en-AU" dirty="0"/>
          </a:p>
        </p:txBody>
      </p:sp>
      <p:sp>
        <p:nvSpPr>
          <p:cNvPr id="18" name="Text Placeholder 13">
            <a:extLst>
              <a:ext uri="{FF2B5EF4-FFF2-40B4-BE49-F238E27FC236}">
                <a16:creationId xmlns:a16="http://schemas.microsoft.com/office/drawing/2014/main" id="{270E165C-15F3-4C64-80C0-8C444A935A1B}"/>
              </a:ext>
            </a:extLst>
          </p:cNvPr>
          <p:cNvSpPr>
            <a:spLocks noGrp="1"/>
          </p:cNvSpPr>
          <p:nvPr>
            <p:ph type="body" sz="quarter" idx="11" hasCustomPrompt="1"/>
          </p:nvPr>
        </p:nvSpPr>
        <p:spPr>
          <a:xfrm>
            <a:off x="3204839" y="2853561"/>
            <a:ext cx="2505974" cy="1815316"/>
          </a:xfrm>
        </p:spPr>
        <p:txBody>
          <a:bodyPr>
            <a:noAutofit/>
          </a:bodyPr>
          <a:lstStyle>
            <a:lvl1pPr marL="0" indent="0">
              <a:buNone/>
              <a:defRPr sz="1200" b="0">
                <a:solidFill>
                  <a:schemeClr val="tx1"/>
                </a:solidFill>
                <a:latin typeface="Arial Nova Cond" panose="020B0506020202020204" pitchFamily="34" charset="0"/>
              </a:defRPr>
            </a:lvl1pPr>
            <a:lvl2pPr>
              <a:defRPr sz="1000"/>
            </a:lvl2pPr>
            <a:lvl3pPr>
              <a:defRPr sz="1000"/>
            </a:lvl3pPr>
            <a:lvl4pPr>
              <a:defRPr sz="1000"/>
            </a:lvl4pPr>
            <a:lvl5pPr>
              <a:defRPr sz="1000"/>
            </a:lvl5pPr>
          </a:lstStyle>
          <a:p>
            <a:pPr lvl="0"/>
            <a:r>
              <a:rPr lang="en-AU" dirty="0" err="1"/>
              <a:t>Dolor</a:t>
            </a:r>
            <a:r>
              <a:rPr lang="en-AU" dirty="0"/>
              <a:t> sit </a:t>
            </a:r>
            <a:r>
              <a:rPr lang="en-AU" dirty="0" err="1"/>
              <a:t>amet</a:t>
            </a:r>
            <a:r>
              <a:rPr lang="en-AU" dirty="0"/>
              <a:t>, </a:t>
            </a:r>
            <a:r>
              <a:rPr lang="en-AU" dirty="0" err="1"/>
              <a:t>consectetur</a:t>
            </a:r>
            <a:r>
              <a:rPr lang="en-AU" dirty="0"/>
              <a:t> </a:t>
            </a:r>
            <a:r>
              <a:rPr lang="en-AU" dirty="0" err="1"/>
              <a:t>adipiscing</a:t>
            </a:r>
            <a:r>
              <a:rPr lang="en-AU" dirty="0"/>
              <a:t> </a:t>
            </a:r>
            <a:r>
              <a:rPr lang="en-AU" dirty="0" err="1"/>
              <a:t>elit</a:t>
            </a:r>
            <a:r>
              <a:rPr lang="en-AU" dirty="0"/>
              <a:t>, sed do </a:t>
            </a:r>
            <a:r>
              <a:rPr lang="en-AU" dirty="0" err="1"/>
              <a:t>eiusmod</a:t>
            </a:r>
            <a:r>
              <a:rPr lang="en-AU" dirty="0"/>
              <a:t> </a:t>
            </a:r>
            <a:r>
              <a:rPr lang="en-AU" dirty="0" err="1"/>
              <a:t>tempor</a:t>
            </a:r>
            <a:r>
              <a:rPr lang="en-AU" dirty="0"/>
              <a:t> </a:t>
            </a:r>
            <a:r>
              <a:rPr lang="en-AU" dirty="0" err="1"/>
              <a:t>incididunt</a:t>
            </a:r>
            <a:r>
              <a:rPr lang="en-AU" dirty="0"/>
              <a:t> </a:t>
            </a:r>
            <a:r>
              <a:rPr lang="en-AU" dirty="0" err="1"/>
              <a:t>ut</a:t>
            </a:r>
            <a:r>
              <a:rPr lang="en-AU" dirty="0"/>
              <a:t> </a:t>
            </a:r>
            <a:r>
              <a:rPr lang="en-AU" dirty="0" err="1"/>
              <a:t>labore</a:t>
            </a:r>
            <a:r>
              <a:rPr lang="en-AU" dirty="0"/>
              <a:t> et dolore magna </a:t>
            </a:r>
            <a:r>
              <a:rPr lang="en-AU" dirty="0" err="1"/>
              <a:t>aliqua</a:t>
            </a:r>
            <a:r>
              <a:rPr lang="en-AU" dirty="0"/>
              <a:t>. Ut </a:t>
            </a:r>
            <a:r>
              <a:rPr lang="en-AU" dirty="0" err="1"/>
              <a:t>enim</a:t>
            </a:r>
            <a:r>
              <a:rPr lang="en-AU" dirty="0"/>
              <a:t> ad minim </a:t>
            </a:r>
            <a:r>
              <a:rPr lang="en-AU" dirty="0" err="1"/>
              <a:t>veniam</a:t>
            </a:r>
            <a:r>
              <a:rPr lang="en-AU" dirty="0"/>
              <a:t>, </a:t>
            </a:r>
            <a:r>
              <a:rPr lang="en-AU" dirty="0" err="1"/>
              <a:t>quis</a:t>
            </a:r>
            <a:r>
              <a:rPr lang="en-AU" dirty="0"/>
              <a:t> </a:t>
            </a:r>
            <a:r>
              <a:rPr lang="en-AU" dirty="0" err="1"/>
              <a:t>nostrud</a:t>
            </a:r>
            <a:r>
              <a:rPr lang="en-AU" dirty="0"/>
              <a:t> exercitation </a:t>
            </a:r>
            <a:r>
              <a:rPr lang="en-AU" dirty="0" err="1"/>
              <a:t>ullamco</a:t>
            </a:r>
            <a:r>
              <a:rPr lang="en-AU" dirty="0"/>
              <a:t> </a:t>
            </a:r>
            <a:r>
              <a:rPr lang="en-AU" dirty="0" err="1"/>
              <a:t>laboris</a:t>
            </a:r>
            <a:r>
              <a:rPr lang="en-AU" dirty="0"/>
              <a:t> nisi </a:t>
            </a:r>
            <a:r>
              <a:rPr lang="en-AU" dirty="0" err="1"/>
              <a:t>ut</a:t>
            </a:r>
            <a:r>
              <a:rPr lang="en-AU" dirty="0"/>
              <a:t> </a:t>
            </a:r>
            <a:r>
              <a:rPr lang="en-AU" dirty="0" err="1"/>
              <a:t>aliquip</a:t>
            </a:r>
            <a:r>
              <a:rPr lang="en-AU" dirty="0"/>
              <a:t> ex </a:t>
            </a:r>
            <a:r>
              <a:rPr lang="en-AU" dirty="0" err="1"/>
              <a:t>ea</a:t>
            </a:r>
            <a:r>
              <a:rPr lang="en-AU" dirty="0"/>
              <a:t> </a:t>
            </a:r>
            <a:r>
              <a:rPr lang="en-AU" dirty="0" err="1"/>
              <a:t>commodo</a:t>
            </a:r>
            <a:r>
              <a:rPr lang="en-AU" dirty="0"/>
              <a:t> </a:t>
            </a:r>
            <a:r>
              <a:rPr lang="en-AU" dirty="0" err="1"/>
              <a:t>consequat</a:t>
            </a:r>
            <a:r>
              <a:rPr lang="en-AU" dirty="0"/>
              <a:t>.</a:t>
            </a:r>
          </a:p>
          <a:p>
            <a:pPr lvl="0"/>
            <a:endParaRPr lang="en-AU" dirty="0"/>
          </a:p>
        </p:txBody>
      </p:sp>
      <p:sp>
        <p:nvSpPr>
          <p:cNvPr id="19" name="Text Placeholder 13">
            <a:extLst>
              <a:ext uri="{FF2B5EF4-FFF2-40B4-BE49-F238E27FC236}">
                <a16:creationId xmlns:a16="http://schemas.microsoft.com/office/drawing/2014/main" id="{3D0C1BCB-DD00-439B-8DF4-9F9DD0FD764E}"/>
              </a:ext>
            </a:extLst>
          </p:cNvPr>
          <p:cNvSpPr>
            <a:spLocks noGrp="1"/>
          </p:cNvSpPr>
          <p:nvPr>
            <p:ph type="body" sz="quarter" idx="12" hasCustomPrompt="1"/>
          </p:nvPr>
        </p:nvSpPr>
        <p:spPr>
          <a:xfrm>
            <a:off x="5905589" y="2853560"/>
            <a:ext cx="2505974" cy="1815316"/>
          </a:xfrm>
        </p:spPr>
        <p:txBody>
          <a:bodyPr>
            <a:noAutofit/>
          </a:bodyPr>
          <a:lstStyle>
            <a:lvl1pPr marL="0" indent="0">
              <a:buNone/>
              <a:defRPr sz="1200" b="0">
                <a:solidFill>
                  <a:schemeClr val="tx1"/>
                </a:solidFill>
                <a:latin typeface="Arial Nova Cond" panose="020B0506020202020204" pitchFamily="34" charset="0"/>
              </a:defRPr>
            </a:lvl1pPr>
            <a:lvl2pPr>
              <a:defRPr sz="1000"/>
            </a:lvl2pPr>
            <a:lvl3pPr>
              <a:defRPr sz="1000"/>
            </a:lvl3pPr>
            <a:lvl4pPr>
              <a:defRPr sz="1000"/>
            </a:lvl4pPr>
            <a:lvl5pPr>
              <a:defRPr sz="1000"/>
            </a:lvl5pPr>
          </a:lstStyle>
          <a:p>
            <a:pPr lvl="0"/>
            <a:r>
              <a:rPr lang="en-AU" dirty="0" err="1"/>
              <a:t>Dolor</a:t>
            </a:r>
            <a:r>
              <a:rPr lang="en-AU" dirty="0"/>
              <a:t> sit </a:t>
            </a:r>
            <a:r>
              <a:rPr lang="en-AU" dirty="0" err="1"/>
              <a:t>amet</a:t>
            </a:r>
            <a:r>
              <a:rPr lang="en-AU" dirty="0"/>
              <a:t>, </a:t>
            </a:r>
            <a:r>
              <a:rPr lang="en-AU" dirty="0" err="1"/>
              <a:t>consectetur</a:t>
            </a:r>
            <a:r>
              <a:rPr lang="en-AU" dirty="0"/>
              <a:t> </a:t>
            </a:r>
            <a:r>
              <a:rPr lang="en-AU" dirty="0" err="1"/>
              <a:t>adipiscing</a:t>
            </a:r>
            <a:r>
              <a:rPr lang="en-AU" dirty="0"/>
              <a:t> </a:t>
            </a:r>
            <a:r>
              <a:rPr lang="en-AU" dirty="0" err="1"/>
              <a:t>elit</a:t>
            </a:r>
            <a:r>
              <a:rPr lang="en-AU" dirty="0"/>
              <a:t>, sed do </a:t>
            </a:r>
            <a:r>
              <a:rPr lang="en-AU" dirty="0" err="1"/>
              <a:t>eiusmod</a:t>
            </a:r>
            <a:r>
              <a:rPr lang="en-AU" dirty="0"/>
              <a:t> </a:t>
            </a:r>
            <a:r>
              <a:rPr lang="en-AU" dirty="0" err="1"/>
              <a:t>tempor</a:t>
            </a:r>
            <a:r>
              <a:rPr lang="en-AU" dirty="0"/>
              <a:t> </a:t>
            </a:r>
            <a:r>
              <a:rPr lang="en-AU" dirty="0" err="1"/>
              <a:t>incididunt</a:t>
            </a:r>
            <a:r>
              <a:rPr lang="en-AU" dirty="0"/>
              <a:t> </a:t>
            </a:r>
            <a:r>
              <a:rPr lang="en-AU" dirty="0" err="1"/>
              <a:t>ut</a:t>
            </a:r>
            <a:r>
              <a:rPr lang="en-AU" dirty="0"/>
              <a:t> </a:t>
            </a:r>
            <a:r>
              <a:rPr lang="en-AU" dirty="0" err="1"/>
              <a:t>labore</a:t>
            </a:r>
            <a:r>
              <a:rPr lang="en-AU" dirty="0"/>
              <a:t> et dolore magna </a:t>
            </a:r>
            <a:r>
              <a:rPr lang="en-AU" dirty="0" err="1"/>
              <a:t>aliqua</a:t>
            </a:r>
            <a:r>
              <a:rPr lang="en-AU" dirty="0"/>
              <a:t>. Ut </a:t>
            </a:r>
            <a:r>
              <a:rPr lang="en-AU" dirty="0" err="1"/>
              <a:t>enim</a:t>
            </a:r>
            <a:r>
              <a:rPr lang="en-AU" dirty="0"/>
              <a:t> ad minim </a:t>
            </a:r>
            <a:r>
              <a:rPr lang="en-AU" dirty="0" err="1"/>
              <a:t>veniam</a:t>
            </a:r>
            <a:r>
              <a:rPr lang="en-AU" dirty="0"/>
              <a:t>, </a:t>
            </a:r>
            <a:r>
              <a:rPr lang="en-AU" dirty="0" err="1"/>
              <a:t>quis</a:t>
            </a:r>
            <a:r>
              <a:rPr lang="en-AU" dirty="0"/>
              <a:t> </a:t>
            </a:r>
            <a:r>
              <a:rPr lang="en-AU" dirty="0" err="1"/>
              <a:t>nostrud</a:t>
            </a:r>
            <a:r>
              <a:rPr lang="en-AU" dirty="0"/>
              <a:t> exercitation </a:t>
            </a:r>
            <a:r>
              <a:rPr lang="en-AU" dirty="0" err="1"/>
              <a:t>ullamco</a:t>
            </a:r>
            <a:r>
              <a:rPr lang="en-AU" dirty="0"/>
              <a:t> </a:t>
            </a:r>
            <a:r>
              <a:rPr lang="en-AU" dirty="0" err="1"/>
              <a:t>laboris</a:t>
            </a:r>
            <a:r>
              <a:rPr lang="en-AU" dirty="0"/>
              <a:t> nisi </a:t>
            </a:r>
            <a:r>
              <a:rPr lang="en-AU" dirty="0" err="1"/>
              <a:t>ut</a:t>
            </a:r>
            <a:r>
              <a:rPr lang="en-AU" dirty="0"/>
              <a:t> </a:t>
            </a:r>
            <a:r>
              <a:rPr lang="en-AU" dirty="0" err="1"/>
              <a:t>aliquip</a:t>
            </a:r>
            <a:r>
              <a:rPr lang="en-AU" dirty="0"/>
              <a:t> ex </a:t>
            </a:r>
            <a:r>
              <a:rPr lang="en-AU" dirty="0" err="1"/>
              <a:t>ea</a:t>
            </a:r>
            <a:r>
              <a:rPr lang="en-AU" dirty="0"/>
              <a:t> </a:t>
            </a:r>
            <a:r>
              <a:rPr lang="en-AU" dirty="0" err="1"/>
              <a:t>commodo</a:t>
            </a:r>
            <a:r>
              <a:rPr lang="en-AU" dirty="0"/>
              <a:t> </a:t>
            </a:r>
            <a:r>
              <a:rPr lang="en-AU" dirty="0" err="1"/>
              <a:t>consequat</a:t>
            </a:r>
            <a:r>
              <a:rPr lang="en-AU" dirty="0"/>
              <a:t>.</a:t>
            </a:r>
          </a:p>
          <a:p>
            <a:pPr lvl="0"/>
            <a:endParaRPr lang="en-AU" dirty="0"/>
          </a:p>
        </p:txBody>
      </p:sp>
      <p:sp>
        <p:nvSpPr>
          <p:cNvPr id="15" name="TextBox 14">
            <a:extLst>
              <a:ext uri="{FF2B5EF4-FFF2-40B4-BE49-F238E27FC236}">
                <a16:creationId xmlns:a16="http://schemas.microsoft.com/office/drawing/2014/main" id="{788D4311-C7E4-4E67-85C2-0568E2E98607}"/>
              </a:ext>
            </a:extLst>
          </p:cNvPr>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510600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736065329"/>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778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963557" y="1072090"/>
            <a:ext cx="710754" cy="71141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3" name="Rectangle 12"/>
          <p:cNvSpPr/>
          <p:nvPr userDrawn="1"/>
        </p:nvSpPr>
        <p:spPr>
          <a:xfrm>
            <a:off x="963900" y="2002553"/>
            <a:ext cx="7214400" cy="2402523"/>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682346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18109844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880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7" name="JS SlideHeader"/>
          <p:cNvSpPr txBox="1"/>
          <p:nvPr userDrawn="1"/>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chemeClr val="bg1"/>
                </a:solidFill>
                <a:latin typeface="+mn-lt"/>
                <a:ea typeface="+mn-ea"/>
                <a:cs typeface="+mn-cs"/>
                <a:sym typeface="+mn-lt"/>
              </a:rPr>
              <a:t>Agenda</a:t>
            </a:r>
          </a:p>
        </p:txBody>
      </p:sp>
      <p:cxnSp>
        <p:nvCxnSpPr>
          <p:cNvPr id="13" name="Straight Connector 12"/>
          <p:cNvCxnSpPr/>
          <p:nvPr userDrawn="1"/>
        </p:nvCxnSpPr>
        <p:spPr bwMode="white">
          <a:xfrm>
            <a:off x="464174" y="905338"/>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33843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643801946"/>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5983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13" name="Rectangle 12"/>
          <p:cNvSpPr/>
          <p:nvPr userDrawn="1"/>
        </p:nvSpPr>
        <p:spPr bwMode="white">
          <a:xfrm>
            <a:off x="3060573" y="-982"/>
            <a:ext cx="6083428" cy="514924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7" name="TextBox 16"/>
          <p:cNvSpPr txBox="1"/>
          <p:nvPr userDrawn="1"/>
        </p:nvSpPr>
        <p:spPr>
          <a:xfrm>
            <a:off x="472503" y="2408016"/>
            <a:ext cx="1160357" cy="332399"/>
          </a:xfrm>
          <a:prstGeom prst="rect">
            <a:avLst/>
          </a:prstGeom>
          <a:noFill/>
        </p:spPr>
        <p:txBody>
          <a:bodyPr wrap="square" lIns="0" tIns="0" rIns="0" bIns="0" rtlCol="0" anchor="t">
            <a:spAutoFit/>
          </a:bodyPr>
          <a:lstStyle/>
          <a:p>
            <a:pPr>
              <a:lnSpc>
                <a:spcPct val="90000"/>
              </a:lnSpc>
              <a:spcAft>
                <a:spcPts val="45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66045648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4467741"/>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08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invGray">
          <a:xfrm>
            <a:off x="1041111" y="3521648"/>
            <a:ext cx="697003" cy="747597"/>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1882112" y="3521648"/>
            <a:ext cx="1177614" cy="1102152"/>
          </a:xfrm>
          <a:prstGeom prst="rect">
            <a:avLst/>
          </a:prstGeom>
          <a:noFill/>
          <a:ln w="9525" cmpd="sng">
            <a:solidFill>
              <a:srgbClr val="002D3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sym typeface="+mn-lt"/>
            </a:endParaRPr>
          </a:p>
        </p:txBody>
      </p:sp>
      <p:sp>
        <p:nvSpPr>
          <p:cNvPr id="11" name="TextBox 10"/>
          <p:cNvSpPr txBox="1"/>
          <p:nvPr userDrawn="1"/>
        </p:nvSpPr>
        <p:spPr>
          <a:xfrm>
            <a:off x="472500" y="681028"/>
            <a:ext cx="2586600" cy="2622182"/>
          </a:xfrm>
          <a:prstGeom prst="rect">
            <a:avLst/>
          </a:prstGeom>
          <a:noFill/>
          <a:ln>
            <a:solidFill>
              <a:srgbClr val="002D3F"/>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sym typeface="+mn-lt"/>
            </a:endParaRPr>
          </a:p>
        </p:txBody>
      </p:sp>
      <p:sp>
        <p:nvSpPr>
          <p:cNvPr id="9" name="TextBox 1"/>
          <p:cNvSpPr txBox="1"/>
          <p:nvPr userDrawn="1"/>
        </p:nvSpPr>
        <p:spPr>
          <a:xfrm>
            <a:off x="877052" y="837337"/>
            <a:ext cx="1776961"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a:solidFill>
                  <a:srgbClr val="002D3F"/>
                </a:solidFill>
                <a:latin typeface="+mn-lt"/>
                <a:ea typeface="+mn-ea"/>
                <a:cs typeface="+mn-cs"/>
                <a:sym typeface="+mn-lt"/>
              </a:rPr>
              <a:t>Agenda</a:t>
            </a:r>
          </a:p>
        </p:txBody>
      </p:sp>
    </p:spTree>
    <p:extLst>
      <p:ext uri="{BB962C8B-B14F-4D97-AF65-F5344CB8AC3E}">
        <p14:creationId xmlns:p14="http://schemas.microsoft.com/office/powerpoint/2010/main" val="1390283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23828302"/>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187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Rectangle 7"/>
          <p:cNvSpPr/>
          <p:nvPr userDrawn="1"/>
        </p:nvSpPr>
        <p:spPr bwMode="white">
          <a:xfrm>
            <a:off x="963557" y="1072090"/>
            <a:ext cx="710754" cy="711412"/>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10" name="Rectangle 9"/>
          <p:cNvSpPr/>
          <p:nvPr userDrawn="1"/>
        </p:nvSpPr>
        <p:spPr>
          <a:xfrm>
            <a:off x="963900" y="2002553"/>
            <a:ext cx="7214400" cy="2402523"/>
          </a:xfrm>
          <a:prstGeom prst="rect">
            <a:avLst/>
          </a:prstGeom>
          <a:noFill/>
          <a:ln w="9525">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sym typeface="+mn-lt"/>
            </a:endParaRPr>
          </a:p>
        </p:txBody>
      </p:sp>
    </p:spTree>
    <p:extLst>
      <p:ext uri="{BB962C8B-B14F-4D97-AF65-F5344CB8AC3E}">
        <p14:creationId xmlns:p14="http://schemas.microsoft.com/office/powerpoint/2010/main" val="1681304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007115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290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7" name="Title 1"/>
          <p:cNvSpPr txBox="1">
            <a:spLocks/>
          </p:cNvSpPr>
          <p:nvPr userDrawn="1"/>
        </p:nvSpPr>
        <p:spPr>
          <a:xfrm>
            <a:off x="472502" y="467532"/>
            <a:ext cx="5392499" cy="34624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00">
                <a:solidFill>
                  <a:srgbClr val="002D3F"/>
                </a:solidFill>
                <a:latin typeface="+mn-lt"/>
                <a:ea typeface="+mn-ea"/>
                <a:cs typeface="+mn-cs"/>
                <a:sym typeface="+mn-lt"/>
              </a:rPr>
              <a:t>Agenda</a:t>
            </a:r>
          </a:p>
        </p:txBody>
      </p:sp>
      <p:cxnSp>
        <p:nvCxnSpPr>
          <p:cNvPr id="9" name="Straight Connector 8"/>
          <p:cNvCxnSpPr/>
          <p:nvPr userDrawn="1"/>
        </p:nvCxnSpPr>
        <p:spPr bwMode="white">
          <a:xfrm>
            <a:off x="464174" y="905338"/>
            <a:ext cx="8682228" cy="0"/>
          </a:xfrm>
          <a:prstGeom prst="line">
            <a:avLst/>
          </a:prstGeom>
          <a:ln w="9525"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436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159527640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39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10" name="TextBox 9"/>
          <p:cNvSpPr txBox="1"/>
          <p:nvPr userDrawn="1"/>
        </p:nvSpPr>
        <p:spPr>
          <a:xfrm>
            <a:off x="472503" y="2448877"/>
            <a:ext cx="870785" cy="249299"/>
          </a:xfrm>
          <a:prstGeom prst="rect">
            <a:avLst/>
          </a:prstGeom>
          <a:noFill/>
        </p:spPr>
        <p:txBody>
          <a:bodyPr wrap="square" lIns="0" tIns="0" rIns="0" bIns="0" rtlCol="0" anchor="t">
            <a:spAutoFit/>
          </a:bodyPr>
          <a:lstStyle/>
          <a:p>
            <a:pPr>
              <a:lnSpc>
                <a:spcPct val="90000"/>
              </a:lnSpc>
              <a:spcAft>
                <a:spcPts val="450"/>
              </a:spcAft>
            </a:pPr>
            <a:r>
              <a:rPr lang="en-US" sz="18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470491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2174376474"/>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649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0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B36F97BB-1088-42FC-9C92-BBD9338C78BE}"/>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8169936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8431424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699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0E2B6D0-850C-4513-A007-2CF11BAF97D1}"/>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2619821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349200"/>
            <a:ext cx="6364188" cy="993775"/>
          </a:xfrm>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Footer Placeholder 3">
            <a:extLst>
              <a:ext uri="{FF2B5EF4-FFF2-40B4-BE49-F238E27FC236}">
                <a16:creationId xmlns:a16="http://schemas.microsoft.com/office/drawing/2014/main" id="{F1A9A8B7-A6F1-4F87-B006-CAEE69A3A4C6}"/>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17528415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81529721"/>
              </p:ext>
            </p:extLst>
          </p:nvPr>
        </p:nvGraphicFramePr>
        <p:xfrm>
          <a:off x="1192" y="1192"/>
          <a:ext cx="1191" cy="1192"/>
        </p:xfrm>
        <a:graphic>
          <a:graphicData uri="http://schemas.openxmlformats.org/presentationml/2006/ole">
            <mc:AlternateContent xmlns:mc="http://schemas.openxmlformats.org/markup-compatibility/2006">
              <mc:Choice xmlns:v="urn:schemas-microsoft-com:vml" Requires="v">
                <p:oleObj spid="_x0000_s68022"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2"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3" name="Date Placeholder 2"/>
          <p:cNvSpPr>
            <a:spLocks noGrp="1"/>
          </p:cNvSpPr>
          <p:nvPr>
            <p:ph type="dt" sz="half" idx="10"/>
          </p:nvPr>
        </p:nvSpPr>
        <p:spPr>
          <a:xfrm>
            <a:off x="7258051" y="4808225"/>
            <a:ext cx="1111538" cy="115523"/>
          </a:xfrm>
          <a:prstGeom prst="rect">
            <a:avLst/>
          </a:prstGeom>
        </p:spPr>
        <p:txBody>
          <a:bodyPr/>
          <a:lstStyle>
            <a:lvl1pPr>
              <a:defRPr>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57200" y="349200"/>
            <a:ext cx="6364188" cy="993775"/>
          </a:xfrm>
          <a:prstGeom prst="rect">
            <a:avLst/>
          </a:prstGeom>
        </p:spPr>
        <p:txBody>
          <a:bodyPr vert="horz" wrap="square" lIns="0" tIns="0" rIns="0" bIns="0" rtlCol="0" anchor="ctr">
            <a:normAutofit/>
          </a:bodyPr>
          <a:lstStyle>
            <a:lvl1pPr>
              <a:defRPr lang="en-US" dirty="0"/>
            </a:lvl1pPr>
          </a:lstStyle>
          <a:p>
            <a:pPr marL="0" lvl="0" defTabSz="914400"/>
            <a:r>
              <a:rPr lang="en-US"/>
              <a:t>Click to add title</a:t>
            </a:r>
          </a:p>
        </p:txBody>
      </p:sp>
      <p:pic>
        <p:nvPicPr>
          <p:cNvPr id="13" name="Picture 12"/>
          <p:cNvPicPr>
            <a:picLocks noChangeAspect="1"/>
          </p:cNvPicPr>
          <p:nvPr userDrawn="1"/>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95"/>
            <a:ext cx="9144000" cy="5148072"/>
          </a:xfrm>
          <a:prstGeom prst="rect">
            <a:avLst/>
          </a:prstGeom>
        </p:spPr>
      </p:pic>
    </p:spTree>
    <p:extLst>
      <p:ext uri="{BB962C8B-B14F-4D97-AF65-F5344CB8AC3E}">
        <p14:creationId xmlns:p14="http://schemas.microsoft.com/office/powerpoint/2010/main" val="1904716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4793766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6904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054306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En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2722677"/>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70070"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5"/>
                        <a:ext cx="1190" cy="1191"/>
                      </a:xfrm>
                      <a:prstGeom prst="rect">
                        <a:avLst/>
                      </a:prstGeom>
                    </p:spPr>
                  </p:pic>
                </p:oleObj>
              </mc:Fallback>
            </mc:AlternateContent>
          </a:graphicData>
        </a:graphic>
      </p:graphicFrame>
      <p:sp>
        <p:nvSpPr>
          <p:cNvPr id="3" name="Footer Placeholder 2">
            <a:extLst>
              <a:ext uri="{FF2B5EF4-FFF2-40B4-BE49-F238E27FC236}">
                <a16:creationId xmlns:a16="http://schemas.microsoft.com/office/drawing/2014/main" id="{FCC70941-341F-4998-8B2E-1B9C81ECB5AF}"/>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785570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6071080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1094"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grpSp>
        <p:nvGrpSpPr>
          <p:cNvPr id="55" name="Group 54"/>
          <p:cNvGrpSpPr/>
          <p:nvPr userDrawn="1"/>
        </p:nvGrpSpPr>
        <p:grpSpPr>
          <a:xfrm>
            <a:off x="900" y="-1949"/>
            <a:ext cx="9142200" cy="5152160"/>
            <a:chOff x="900" y="-1949"/>
            <a:chExt cx="9142200" cy="5152160"/>
          </a:xfrm>
        </p:grpSpPr>
        <p:sp>
          <p:nvSpPr>
            <p:cNvPr id="93" name="Slide edges"/>
            <p:cNvSpPr>
              <a:spLocks/>
            </p:cNvSpPr>
            <p:nvPr/>
          </p:nvSpPr>
          <p:spPr bwMode="auto">
            <a:xfrm>
              <a:off x="900" y="-1949"/>
              <a:ext cx="9142200" cy="515216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A4A7A9"/>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4" name="Footnote measure"/>
            <p:cNvSpPr>
              <a:spLocks noChangeArrowheads="1"/>
            </p:cNvSpPr>
            <p:nvPr/>
          </p:nvSpPr>
          <p:spPr bwMode="auto">
            <a:xfrm>
              <a:off x="457201" y="4589938"/>
              <a:ext cx="8204454" cy="332399"/>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5" name="Whitespace measure"/>
            <p:cNvSpPr>
              <a:spLocks noChangeArrowheads="1"/>
            </p:cNvSpPr>
            <p:nvPr/>
          </p:nvSpPr>
          <p:spPr bwMode="auto">
            <a:xfrm>
              <a:off x="457201" y="1131085"/>
              <a:ext cx="8204454" cy="435777"/>
            </a:xfrm>
            <a:prstGeom prst="rect">
              <a:avLst/>
            </a:prstGeom>
            <a:solidFill>
              <a:srgbClr val="E9A91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6" name="Rectangle 6"/>
            <p:cNvSpPr>
              <a:spLocks noChangeArrowheads="1"/>
            </p:cNvSpPr>
            <p:nvPr/>
          </p:nvSpPr>
          <p:spPr bwMode="auto">
            <a:xfrm>
              <a:off x="471599" y="1129023"/>
              <a:ext cx="8206874" cy="435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7" name="No-fly zone"/>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close/>
                  <a:moveTo>
                    <a:pt x="6021" y="0"/>
                  </a:moveTo>
                  <a:lnTo>
                    <a:pt x="0" y="0"/>
                  </a:lnTo>
                  <a:lnTo>
                    <a:pt x="0" y="3390"/>
                  </a:lnTo>
                  <a:lnTo>
                    <a:pt x="6021" y="3390"/>
                  </a:lnTo>
                  <a:lnTo>
                    <a:pt x="6021" y="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Freeform 8"/>
            <p:cNvSpPr>
              <a:spLocks noEditPoints="1"/>
            </p:cNvSpPr>
            <p:nvPr/>
          </p:nvSpPr>
          <p:spPr bwMode="auto">
            <a:xfrm>
              <a:off x="900" y="2381"/>
              <a:ext cx="9142200" cy="5147328"/>
            </a:xfrm>
            <a:custGeom>
              <a:avLst/>
              <a:gdLst>
                <a:gd name="T0" fmla="*/ 310 w 6021"/>
                <a:gd name="T1" fmla="*/ 742 h 3390"/>
                <a:gd name="T2" fmla="*/ 310 w 6021"/>
                <a:gd name="T3" fmla="*/ 742 h 3390"/>
                <a:gd name="T4" fmla="*/ 310 w 6021"/>
                <a:gd name="T5" fmla="*/ 310 h 3390"/>
                <a:gd name="T6" fmla="*/ 5715 w 6021"/>
                <a:gd name="T7" fmla="*/ 310 h 3390"/>
                <a:gd name="T8" fmla="*/ 5715 w 6021"/>
                <a:gd name="T9" fmla="*/ 742 h 3390"/>
                <a:gd name="T10" fmla="*/ 5715 w 6021"/>
                <a:gd name="T11" fmla="*/ 1029 h 3390"/>
                <a:gd name="T12" fmla="*/ 5715 w 6021"/>
                <a:gd name="T13" fmla="*/ 3040 h 3390"/>
                <a:gd name="T14" fmla="*/ 5715 w 6021"/>
                <a:gd name="T15" fmla="*/ 3043 h 3390"/>
                <a:gd name="T16" fmla="*/ 5715 w 6021"/>
                <a:gd name="T17" fmla="*/ 3230 h 3390"/>
                <a:gd name="T18" fmla="*/ 310 w 6021"/>
                <a:gd name="T19" fmla="*/ 3230 h 3390"/>
                <a:gd name="T20" fmla="*/ 310 w 6021"/>
                <a:gd name="T21" fmla="*/ 3040 h 3390"/>
                <a:gd name="T22" fmla="*/ 310 w 6021"/>
                <a:gd name="T23" fmla="*/ 1029 h 3390"/>
                <a:gd name="T24" fmla="*/ 310 w 6021"/>
                <a:gd name="T25" fmla="*/ 742 h 3390"/>
                <a:gd name="T26" fmla="*/ 6021 w 6021"/>
                <a:gd name="T27" fmla="*/ 0 h 3390"/>
                <a:gd name="T28" fmla="*/ 0 w 6021"/>
                <a:gd name="T29" fmla="*/ 0 h 3390"/>
                <a:gd name="T30" fmla="*/ 0 w 6021"/>
                <a:gd name="T31" fmla="*/ 3390 h 3390"/>
                <a:gd name="T32" fmla="*/ 6021 w 6021"/>
                <a:gd name="T33" fmla="*/ 3390 h 3390"/>
                <a:gd name="T34" fmla="*/ 6021 w 6021"/>
                <a:gd name="T35" fmla="*/ 0 h 3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21" h="3390">
                  <a:moveTo>
                    <a:pt x="310" y="742"/>
                  </a:moveTo>
                  <a:lnTo>
                    <a:pt x="310" y="742"/>
                  </a:lnTo>
                  <a:lnTo>
                    <a:pt x="310" y="310"/>
                  </a:lnTo>
                  <a:lnTo>
                    <a:pt x="5715" y="310"/>
                  </a:lnTo>
                  <a:lnTo>
                    <a:pt x="5715" y="742"/>
                  </a:lnTo>
                  <a:lnTo>
                    <a:pt x="5715" y="1029"/>
                  </a:lnTo>
                  <a:lnTo>
                    <a:pt x="5715" y="3040"/>
                  </a:lnTo>
                  <a:lnTo>
                    <a:pt x="5715" y="3043"/>
                  </a:lnTo>
                  <a:lnTo>
                    <a:pt x="5715" y="3230"/>
                  </a:lnTo>
                  <a:lnTo>
                    <a:pt x="310" y="3230"/>
                  </a:lnTo>
                  <a:lnTo>
                    <a:pt x="310" y="3040"/>
                  </a:lnTo>
                  <a:lnTo>
                    <a:pt x="310" y="1029"/>
                  </a:lnTo>
                  <a:lnTo>
                    <a:pt x="310" y="742"/>
                  </a:lnTo>
                  <a:moveTo>
                    <a:pt x="6021" y="0"/>
                  </a:moveTo>
                  <a:lnTo>
                    <a:pt x="0" y="0"/>
                  </a:lnTo>
                  <a:lnTo>
                    <a:pt x="0" y="3390"/>
                  </a:lnTo>
                  <a:lnTo>
                    <a:pt x="6021" y="3390"/>
                  </a:lnTo>
                  <a:lnTo>
                    <a:pt x="60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Gutter space"/>
            <p:cNvGrpSpPr/>
            <p:nvPr/>
          </p:nvGrpSpPr>
          <p:grpSpPr>
            <a:xfrm>
              <a:off x="951744" y="470043"/>
              <a:ext cx="7215368" cy="4119894"/>
              <a:chOff x="2322513" y="1258888"/>
              <a:chExt cx="7543800" cy="4341813"/>
            </a:xfrm>
            <a:solidFill>
              <a:schemeClr val="accent5">
                <a:alpha val="15000"/>
              </a:schemeClr>
            </a:solidFill>
          </p:grpSpPr>
          <p:sp>
            <p:nvSpPr>
              <p:cNvPr id="124" name="Rectangle 34"/>
              <p:cNvSpPr>
                <a:spLocks noChangeArrowheads="1"/>
              </p:cNvSpPr>
              <p:nvPr/>
            </p:nvSpPr>
            <p:spPr bwMode="auto">
              <a:xfrm>
                <a:off x="6716713" y="1258888"/>
                <a:ext cx="227013"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5" name="Rectangle 35"/>
              <p:cNvSpPr>
                <a:spLocks noChangeArrowheads="1"/>
              </p:cNvSpPr>
              <p:nvPr/>
            </p:nvSpPr>
            <p:spPr bwMode="auto">
              <a:xfrm>
                <a:off x="818356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6" name="Rectangle 36"/>
              <p:cNvSpPr>
                <a:spLocks noChangeArrowheads="1"/>
              </p:cNvSpPr>
              <p:nvPr/>
            </p:nvSpPr>
            <p:spPr bwMode="auto">
              <a:xfrm>
                <a:off x="7451726"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7" name="Rectangle 37"/>
              <p:cNvSpPr>
                <a:spLocks noChangeArrowheads="1"/>
              </p:cNvSpPr>
              <p:nvPr/>
            </p:nvSpPr>
            <p:spPr bwMode="auto">
              <a:xfrm>
                <a:off x="89154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8" name="Rectangle 38"/>
              <p:cNvSpPr>
                <a:spLocks noChangeArrowheads="1"/>
              </p:cNvSpPr>
              <p:nvPr/>
            </p:nvSpPr>
            <p:spPr bwMode="auto">
              <a:xfrm>
                <a:off x="9647238" y="1258888"/>
                <a:ext cx="219075"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29" name="Rectangle 39"/>
              <p:cNvSpPr>
                <a:spLocks noChangeArrowheads="1"/>
              </p:cNvSpPr>
              <p:nvPr/>
            </p:nvSpPr>
            <p:spPr bwMode="auto">
              <a:xfrm>
                <a:off x="5984876" y="1258888"/>
                <a:ext cx="23018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0" name="Rectangle 40"/>
              <p:cNvSpPr>
                <a:spLocks noChangeArrowheads="1"/>
              </p:cNvSpPr>
              <p:nvPr/>
            </p:nvSpPr>
            <p:spPr bwMode="auto">
              <a:xfrm>
                <a:off x="2322513" y="1258888"/>
                <a:ext cx="228600"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1" name="Rectangle 41"/>
              <p:cNvSpPr>
                <a:spLocks noChangeArrowheads="1"/>
              </p:cNvSpPr>
              <p:nvPr/>
            </p:nvSpPr>
            <p:spPr bwMode="auto">
              <a:xfrm>
                <a:off x="3059113"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2" name="Rectangle 42"/>
              <p:cNvSpPr>
                <a:spLocks noChangeArrowheads="1"/>
              </p:cNvSpPr>
              <p:nvPr/>
            </p:nvSpPr>
            <p:spPr bwMode="auto">
              <a:xfrm>
                <a:off x="379095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3" name="Rectangle 43"/>
              <p:cNvSpPr>
                <a:spLocks noChangeArrowheads="1"/>
              </p:cNvSpPr>
              <p:nvPr/>
            </p:nvSpPr>
            <p:spPr bwMode="auto">
              <a:xfrm>
                <a:off x="4521201"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38" name="Rectangle 44"/>
              <p:cNvSpPr>
                <a:spLocks noChangeArrowheads="1"/>
              </p:cNvSpPr>
              <p:nvPr/>
            </p:nvSpPr>
            <p:spPr bwMode="auto">
              <a:xfrm>
                <a:off x="5253038" y="1258888"/>
                <a:ext cx="223838" cy="43418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grpSp>
          <p:nvGrpSpPr>
            <p:cNvPr id="100" name="Group 99"/>
            <p:cNvGrpSpPr/>
            <p:nvPr/>
          </p:nvGrpSpPr>
          <p:grpSpPr>
            <a:xfrm>
              <a:off x="900" y="470043"/>
              <a:ext cx="9142200" cy="4119894"/>
              <a:chOff x="900" y="470043"/>
              <a:chExt cx="9142200" cy="4119894"/>
            </a:xfrm>
          </p:grpSpPr>
          <p:sp>
            <p:nvSpPr>
              <p:cNvPr id="104" name="Line 14"/>
              <p:cNvSpPr>
                <a:spLocks noChangeShapeType="1"/>
              </p:cNvSpPr>
              <p:nvPr/>
            </p:nvSpPr>
            <p:spPr bwMode="auto">
              <a:xfrm>
                <a:off x="900" y="68940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5" name="Line 15"/>
              <p:cNvSpPr>
                <a:spLocks noChangeShapeType="1"/>
              </p:cNvSpPr>
              <p:nvPr/>
            </p:nvSpPr>
            <p:spPr bwMode="auto">
              <a:xfrm>
                <a:off x="900" y="470043"/>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6" name="Line 16"/>
              <p:cNvSpPr>
                <a:spLocks noChangeShapeType="1"/>
              </p:cNvSpPr>
              <p:nvPr/>
            </p:nvSpPr>
            <p:spPr bwMode="auto">
              <a:xfrm>
                <a:off x="900" y="4589937"/>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7" name="Line 17"/>
              <p:cNvSpPr>
                <a:spLocks noChangeShapeType="1"/>
              </p:cNvSpPr>
              <p:nvPr/>
            </p:nvSpPr>
            <p:spPr bwMode="auto">
              <a:xfrm>
                <a:off x="900" y="908771"/>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8" name="Line 18"/>
              <p:cNvSpPr>
                <a:spLocks noChangeShapeType="1"/>
              </p:cNvSpPr>
              <p:nvPr/>
            </p:nvSpPr>
            <p:spPr bwMode="auto">
              <a:xfrm>
                <a:off x="900" y="1128135"/>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09" name="Line 19"/>
              <p:cNvSpPr>
                <a:spLocks noChangeShapeType="1"/>
              </p:cNvSpPr>
              <p:nvPr/>
            </p:nvSpPr>
            <p:spPr bwMode="auto">
              <a:xfrm>
                <a:off x="900" y="1347499"/>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0" name="Line 20"/>
              <p:cNvSpPr>
                <a:spLocks noChangeShapeType="1"/>
              </p:cNvSpPr>
              <p:nvPr/>
            </p:nvSpPr>
            <p:spPr bwMode="auto">
              <a:xfrm>
                <a:off x="900" y="156686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1" name="Line 21"/>
              <p:cNvSpPr>
                <a:spLocks noChangeShapeType="1"/>
              </p:cNvSpPr>
              <p:nvPr/>
            </p:nvSpPr>
            <p:spPr bwMode="auto">
              <a:xfrm>
                <a:off x="900" y="178279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2" name="Line 22"/>
              <p:cNvSpPr>
                <a:spLocks noChangeShapeType="1"/>
              </p:cNvSpPr>
              <p:nvPr/>
            </p:nvSpPr>
            <p:spPr bwMode="auto">
              <a:xfrm>
                <a:off x="900" y="199873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3" name="Line 23"/>
              <p:cNvSpPr>
                <a:spLocks noChangeShapeType="1"/>
              </p:cNvSpPr>
              <p:nvPr/>
            </p:nvSpPr>
            <p:spPr bwMode="auto">
              <a:xfrm>
                <a:off x="900" y="221466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4" name="Line 24"/>
              <p:cNvSpPr>
                <a:spLocks noChangeShapeType="1"/>
              </p:cNvSpPr>
              <p:nvPr/>
            </p:nvSpPr>
            <p:spPr bwMode="auto">
              <a:xfrm>
                <a:off x="900" y="243059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5" name="Line 25"/>
              <p:cNvSpPr>
                <a:spLocks noChangeShapeType="1"/>
              </p:cNvSpPr>
              <p:nvPr/>
            </p:nvSpPr>
            <p:spPr bwMode="auto">
              <a:xfrm>
                <a:off x="900" y="264653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6" name="Line 26"/>
              <p:cNvSpPr>
                <a:spLocks noChangeShapeType="1"/>
              </p:cNvSpPr>
              <p:nvPr/>
            </p:nvSpPr>
            <p:spPr bwMode="auto">
              <a:xfrm>
                <a:off x="900" y="286246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7" name="Line 27"/>
              <p:cNvSpPr>
                <a:spLocks noChangeShapeType="1"/>
              </p:cNvSpPr>
              <p:nvPr/>
            </p:nvSpPr>
            <p:spPr bwMode="auto">
              <a:xfrm>
                <a:off x="900" y="307840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8" name="Line 28"/>
              <p:cNvSpPr>
                <a:spLocks noChangeShapeType="1"/>
              </p:cNvSpPr>
              <p:nvPr/>
            </p:nvSpPr>
            <p:spPr bwMode="auto">
              <a:xfrm>
                <a:off x="900" y="329433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19" name="Line 29"/>
              <p:cNvSpPr>
                <a:spLocks noChangeShapeType="1"/>
              </p:cNvSpPr>
              <p:nvPr/>
            </p:nvSpPr>
            <p:spPr bwMode="auto">
              <a:xfrm>
                <a:off x="900" y="3510268"/>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0" name="Line 30"/>
              <p:cNvSpPr>
                <a:spLocks noChangeShapeType="1"/>
              </p:cNvSpPr>
              <p:nvPr/>
            </p:nvSpPr>
            <p:spPr bwMode="auto">
              <a:xfrm>
                <a:off x="900" y="3726202"/>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1" name="Line 31"/>
              <p:cNvSpPr>
                <a:spLocks noChangeShapeType="1"/>
              </p:cNvSpPr>
              <p:nvPr/>
            </p:nvSpPr>
            <p:spPr bwMode="auto">
              <a:xfrm>
                <a:off x="900" y="3942136"/>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2" name="Line 32"/>
              <p:cNvSpPr>
                <a:spLocks noChangeShapeType="1"/>
              </p:cNvSpPr>
              <p:nvPr/>
            </p:nvSpPr>
            <p:spPr bwMode="auto">
              <a:xfrm>
                <a:off x="900" y="4158070"/>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sp>
            <p:nvSpPr>
              <p:cNvPr id="123" name="Line 33"/>
              <p:cNvSpPr>
                <a:spLocks noChangeShapeType="1"/>
              </p:cNvSpPr>
              <p:nvPr/>
            </p:nvSpPr>
            <p:spPr bwMode="auto">
              <a:xfrm>
                <a:off x="900" y="4374004"/>
                <a:ext cx="91422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013"/>
              </a:p>
            </p:txBody>
          </p:sp>
        </p:grpSp>
        <p:sp>
          <p:nvSpPr>
            <p:cNvPr id="101" name="Five column measure"/>
            <p:cNvSpPr>
              <a:spLocks noEditPoints="1"/>
            </p:cNvSpPr>
            <p:nvPr/>
          </p:nvSpPr>
          <p:spPr bwMode="auto">
            <a:xfrm>
              <a:off x="471599" y="4456917"/>
              <a:ext cx="8206874" cy="50108"/>
            </a:xfrm>
            <a:custGeom>
              <a:avLst/>
              <a:gdLst>
                <a:gd name="T0" fmla="*/ 1113 w 5405"/>
                <a:gd name="T1" fmla="*/ 0 h 33"/>
                <a:gd name="T2" fmla="*/ 2068 w 5405"/>
                <a:gd name="T3" fmla="*/ 0 h 33"/>
                <a:gd name="T4" fmla="*/ 2068 w 5405"/>
                <a:gd name="T5" fmla="*/ 33 h 33"/>
                <a:gd name="T6" fmla="*/ 1113 w 5405"/>
                <a:gd name="T7" fmla="*/ 33 h 33"/>
                <a:gd name="T8" fmla="*/ 1113 w 5405"/>
                <a:gd name="T9" fmla="*/ 0 h 33"/>
                <a:gd name="T10" fmla="*/ 1113 w 5405"/>
                <a:gd name="T11" fmla="*/ 0 h 33"/>
                <a:gd name="T12" fmla="*/ 4449 w 5405"/>
                <a:gd name="T13" fmla="*/ 0 h 33"/>
                <a:gd name="T14" fmla="*/ 4449 w 5405"/>
                <a:gd name="T15" fmla="*/ 33 h 33"/>
                <a:gd name="T16" fmla="*/ 5405 w 5405"/>
                <a:gd name="T17" fmla="*/ 33 h 33"/>
                <a:gd name="T18" fmla="*/ 5405 w 5405"/>
                <a:gd name="T19" fmla="*/ 0 h 33"/>
                <a:gd name="T20" fmla="*/ 4449 w 5405"/>
                <a:gd name="T21" fmla="*/ 0 h 33"/>
                <a:gd name="T22" fmla="*/ 4449 w 5405"/>
                <a:gd name="T23" fmla="*/ 0 h 33"/>
                <a:gd name="T24" fmla="*/ 3337 w 5405"/>
                <a:gd name="T25" fmla="*/ 0 h 33"/>
                <a:gd name="T26" fmla="*/ 3337 w 5405"/>
                <a:gd name="T27" fmla="*/ 33 h 33"/>
                <a:gd name="T28" fmla="*/ 4293 w 5405"/>
                <a:gd name="T29" fmla="*/ 33 h 33"/>
                <a:gd name="T30" fmla="*/ 4293 w 5405"/>
                <a:gd name="T31" fmla="*/ 0 h 33"/>
                <a:gd name="T32" fmla="*/ 3337 w 5405"/>
                <a:gd name="T33" fmla="*/ 0 h 33"/>
                <a:gd name="T34" fmla="*/ 3337 w 5405"/>
                <a:gd name="T35" fmla="*/ 0 h 33"/>
                <a:gd name="T36" fmla="*/ 2225 w 5405"/>
                <a:gd name="T37" fmla="*/ 0 h 33"/>
                <a:gd name="T38" fmla="*/ 2225 w 5405"/>
                <a:gd name="T39" fmla="*/ 33 h 33"/>
                <a:gd name="T40" fmla="*/ 3180 w 5405"/>
                <a:gd name="T41" fmla="*/ 33 h 33"/>
                <a:gd name="T42" fmla="*/ 3180 w 5405"/>
                <a:gd name="T43" fmla="*/ 0 h 33"/>
                <a:gd name="T44" fmla="*/ 2225 w 5405"/>
                <a:gd name="T45" fmla="*/ 0 h 33"/>
                <a:gd name="T46" fmla="*/ 2225 w 5405"/>
                <a:gd name="T47" fmla="*/ 0 h 33"/>
                <a:gd name="T48" fmla="*/ 0 w 5405"/>
                <a:gd name="T49" fmla="*/ 0 h 33"/>
                <a:gd name="T50" fmla="*/ 0 w 5405"/>
                <a:gd name="T51" fmla="*/ 33 h 33"/>
                <a:gd name="T52" fmla="*/ 955 w 5405"/>
                <a:gd name="T53" fmla="*/ 33 h 33"/>
                <a:gd name="T54" fmla="*/ 955 w 5405"/>
                <a:gd name="T55" fmla="*/ 0 h 33"/>
                <a:gd name="T56" fmla="*/ 0 w 5405"/>
                <a:gd name="T57" fmla="*/ 0 h 33"/>
                <a:gd name="T58" fmla="*/ 0 w 5405"/>
                <a:gd name="T59"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05" h="33">
                  <a:moveTo>
                    <a:pt x="1113" y="0"/>
                  </a:moveTo>
                  <a:lnTo>
                    <a:pt x="2068" y="0"/>
                  </a:lnTo>
                  <a:lnTo>
                    <a:pt x="2068" y="33"/>
                  </a:lnTo>
                  <a:lnTo>
                    <a:pt x="1113" y="33"/>
                  </a:lnTo>
                  <a:lnTo>
                    <a:pt x="1113" y="0"/>
                  </a:lnTo>
                  <a:lnTo>
                    <a:pt x="1113" y="0"/>
                  </a:lnTo>
                  <a:close/>
                  <a:moveTo>
                    <a:pt x="4449" y="0"/>
                  </a:moveTo>
                  <a:lnTo>
                    <a:pt x="4449" y="33"/>
                  </a:lnTo>
                  <a:lnTo>
                    <a:pt x="5405" y="33"/>
                  </a:lnTo>
                  <a:lnTo>
                    <a:pt x="5405" y="0"/>
                  </a:lnTo>
                  <a:lnTo>
                    <a:pt x="4449" y="0"/>
                  </a:lnTo>
                  <a:lnTo>
                    <a:pt x="4449" y="0"/>
                  </a:lnTo>
                  <a:close/>
                  <a:moveTo>
                    <a:pt x="3337" y="0"/>
                  </a:moveTo>
                  <a:lnTo>
                    <a:pt x="3337" y="33"/>
                  </a:lnTo>
                  <a:lnTo>
                    <a:pt x="4293" y="33"/>
                  </a:lnTo>
                  <a:lnTo>
                    <a:pt x="4293" y="0"/>
                  </a:lnTo>
                  <a:lnTo>
                    <a:pt x="3337" y="0"/>
                  </a:lnTo>
                  <a:lnTo>
                    <a:pt x="3337" y="0"/>
                  </a:lnTo>
                  <a:close/>
                  <a:moveTo>
                    <a:pt x="2225" y="0"/>
                  </a:moveTo>
                  <a:lnTo>
                    <a:pt x="2225" y="33"/>
                  </a:lnTo>
                  <a:lnTo>
                    <a:pt x="3180" y="33"/>
                  </a:lnTo>
                  <a:lnTo>
                    <a:pt x="3180" y="0"/>
                  </a:lnTo>
                  <a:lnTo>
                    <a:pt x="2225" y="0"/>
                  </a:lnTo>
                  <a:lnTo>
                    <a:pt x="2225" y="0"/>
                  </a:lnTo>
                  <a:close/>
                  <a:moveTo>
                    <a:pt x="0" y="0"/>
                  </a:moveTo>
                  <a:lnTo>
                    <a:pt x="0" y="33"/>
                  </a:lnTo>
                  <a:lnTo>
                    <a:pt x="955" y="33"/>
                  </a:lnTo>
                  <a:lnTo>
                    <a:pt x="955" y="0"/>
                  </a:lnTo>
                  <a:lnTo>
                    <a:pt x="0" y="0"/>
                  </a:lnTo>
                  <a:lnTo>
                    <a:pt x="0" y="0"/>
                  </a:lnTo>
                  <a:close/>
                </a:path>
              </a:pathLst>
            </a:custGeom>
            <a:solidFill>
              <a:srgbClr val="A4A7A9">
                <a:alpha val="15000"/>
              </a:srgbClr>
            </a:solidFill>
            <a:ln w="9525">
              <a:noFill/>
              <a:round/>
              <a:headEnd/>
              <a:tailEnd/>
            </a:ln>
          </p:spPr>
          <p:txBody>
            <a:bodyPr vert="horz" wrap="square" lIns="68580" tIns="34290" rIns="68580" bIns="34290" numCol="1" anchor="t" anchorCtr="0" compatLnSpc="1">
              <a:prstTxWarp prst="textNoShape">
                <a:avLst/>
              </a:prstTxWarp>
            </a:bodyPr>
            <a:lstStyle/>
            <a:p>
              <a:endParaRPr lang="en-US" sz="1013"/>
            </a:p>
          </p:txBody>
        </p:sp>
        <p:sp>
          <p:nvSpPr>
            <p:cNvPr id="102" name="Live space"/>
            <p:cNvSpPr/>
            <p:nvPr/>
          </p:nvSpPr>
          <p:spPr>
            <a:xfrm>
              <a:off x="457201" y="1566862"/>
              <a:ext cx="8204454" cy="3023075"/>
            </a:xfrm>
            <a:prstGeom prst="rect">
              <a:avLst/>
            </a:prstGeom>
            <a:noFill/>
            <a:ln w="9525">
              <a:solidFill>
                <a:srgbClr val="B6006A">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3" name="Footnote example"/>
            <p:cNvSpPr txBox="1"/>
            <p:nvPr/>
          </p:nvSpPr>
          <p:spPr>
            <a:xfrm>
              <a:off x="457201" y="4589938"/>
              <a:ext cx="6773186" cy="332399"/>
            </a:xfrm>
            <a:prstGeom prst="rect">
              <a:avLst/>
            </a:prstGeom>
            <a:noFill/>
          </p:spPr>
          <p:txBody>
            <a:bodyPr wrap="square" lIns="0" tIns="0" rIns="0" bIns="0" rtlCol="0" anchor="b">
              <a:spAutoFit/>
            </a:bodyPr>
            <a:lstStyle/>
            <a:p>
              <a:pPr lvl="0">
                <a:lnSpc>
                  <a:spcPct val="90000"/>
                </a:lnSpc>
                <a:defRPr/>
              </a:pPr>
              <a:r>
                <a:rPr lang="en-US" sz="800">
                  <a:solidFill>
                    <a:srgbClr val="A6A6A6"/>
                  </a:solidFill>
                  <a:sym typeface="Trebuchet MS" panose="020B0603020202020204" pitchFamily="34" charset="0"/>
                </a:rPr>
                <a:t>1. xxxx  2. xxxx  3. xxxx</a:t>
              </a:r>
            </a:p>
            <a:p>
              <a:pPr lvl="0">
                <a:lnSpc>
                  <a:spcPct val="90000"/>
                </a:lnSpc>
                <a:defRPr/>
              </a:pPr>
              <a:r>
                <a:rPr lang="en-US" sz="800">
                  <a:solidFill>
                    <a:srgbClr val="A6A6A6"/>
                  </a:solidFill>
                  <a:sym typeface="Trebuchet MS" panose="020B0603020202020204" pitchFamily="34" charset="0"/>
                </a:rPr>
                <a:t>Note: List footnotes in numerical order. Footnote numbers are not bracketed. Use 8pt font. Do not put a period at the end of the note or the source</a:t>
              </a:r>
            </a:p>
            <a:p>
              <a:pPr lvl="0">
                <a:lnSpc>
                  <a:spcPct val="90000"/>
                </a:lnSpc>
                <a:defRPr/>
              </a:pPr>
              <a:r>
                <a:rPr lang="en-US" sz="800">
                  <a:solidFill>
                    <a:srgbClr val="A6A6A6"/>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971798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 Title Only">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918902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211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569668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81907093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3142"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3" name="Date Placeholder 2">
            <a:extLst>
              <a:ext uri="{FF2B5EF4-FFF2-40B4-BE49-F238E27FC236}">
                <a16:creationId xmlns:a16="http://schemas.microsoft.com/office/drawing/2014/main" id="{C63B0D2C-48F9-4A74-A019-D89B47F39A7F}"/>
              </a:ext>
            </a:extLst>
          </p:cNvPr>
          <p:cNvSpPr>
            <a:spLocks noGrp="1"/>
          </p:cNvSpPr>
          <p:nvPr>
            <p:ph type="dt" sz="half" idx="11"/>
          </p:nvPr>
        </p:nvSpPr>
        <p:spPr/>
        <p:txBody>
          <a:bodyPr/>
          <a:lstStyle/>
          <a:p>
            <a:endParaRPr lang="en-US"/>
          </a:p>
        </p:txBody>
      </p:sp>
    </p:spTree>
    <p:extLst>
      <p:ext uri="{BB962C8B-B14F-4D97-AF65-F5344CB8AC3E}">
        <p14:creationId xmlns:p14="http://schemas.microsoft.com/office/powerpoint/2010/main" val="1248155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 Section header box">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0180403"/>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416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1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963559" y="2002884"/>
            <a:ext cx="7215368" cy="2402993"/>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960522" y="1069050"/>
            <a:ext cx="713791" cy="714452"/>
          </a:xfrm>
          <a:prstGeom prst="rect">
            <a:avLst/>
          </a:prstGeom>
          <a:noFill/>
          <a:ln>
            <a:solidFill>
              <a:srgbClr val="002D3F"/>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602088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9630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519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Date Placeholder 8"/>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Title 1"/>
          <p:cNvSpPr>
            <a:spLocks noGrp="1"/>
          </p:cNvSpPr>
          <p:nvPr>
            <p:ph type="title" hasCustomPrompt="1"/>
          </p:nvPr>
        </p:nvSpPr>
        <p:spPr bwMode="blackWhite">
          <a:xfrm>
            <a:off x="472500" y="2872758"/>
            <a:ext cx="8202600" cy="1532318"/>
          </a:xfrm>
        </p:spPr>
        <p:txBody>
          <a:bodyPr anchor="t">
            <a:noAutofit/>
          </a:bodyPr>
          <a:lstStyle>
            <a:lvl1pPr>
              <a:defRPr sz="4000">
                <a:solidFill>
                  <a:srgbClr val="002D3F"/>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72501" y="2762568"/>
            <a:ext cx="8668940" cy="0"/>
          </a:xfrm>
          <a:prstGeom prst="line">
            <a:avLst/>
          </a:prstGeom>
          <a:ln w="19050" cmpd="sng">
            <a:solidFill>
              <a:srgbClr val="002D3F"/>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DFCB1B79-13D1-486C-8E18-30416660D859}"/>
              </a:ext>
            </a:extLst>
          </p:cNvPr>
          <p:cNvSpPr>
            <a:spLocks noGrp="1"/>
          </p:cNvSpPr>
          <p:nvPr>
            <p:ph type="ftr" sz="quarter" idx="11"/>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4257493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6463507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621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3048748" y="2"/>
            <a:ext cx="312713" cy="5148263"/>
          </a:xfrm>
          <a:prstGeom prst="rect">
            <a:avLst/>
          </a:prstGeom>
        </p:spPr>
      </p:pic>
      <p:sp>
        <p:nvSpPr>
          <p:cNvPr id="18" name="Date Placeholder 1"/>
          <p:cNvSpPr>
            <a:spLocks noGrp="1"/>
          </p:cNvSpPr>
          <p:nvPr>
            <p:ph type="dt" sz="half" idx="3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0"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2"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2" y="2"/>
            <a:ext cx="3059631"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71312524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286297382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7238"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5374207" y="2"/>
            <a:ext cx="312713" cy="5148263"/>
          </a:xfrm>
          <a:prstGeom prst="rect">
            <a:avLst/>
          </a:prstGeom>
        </p:spPr>
      </p:pic>
      <p:sp>
        <p:nvSpPr>
          <p:cNvPr id="14" name="Rectangle 13"/>
          <p:cNvSpPr/>
          <p:nvPr userDrawn="1"/>
        </p:nvSpPr>
        <p:spPr bwMode="white">
          <a:xfrm>
            <a:off x="2" y="2"/>
            <a:ext cx="5378967"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8" name="Date Placeholder 2"/>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4722699"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0392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 Title and Text">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962036474"/>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3510" name="think-cell Slide" r:id="rId6" imgW="286" imgH="286" progId="TCLayout.ActiveDocument.1">
                  <p:embed/>
                </p:oleObj>
              </mc:Choice>
              <mc:Fallback>
                <p:oleObj name="think-cell Slide" r:id="rId6" imgW="286" imgH="286" progId="TCLayout.ActiveDocument.1">
                  <p:embed/>
                  <p:pic>
                    <p:nvPicPr>
                      <p:cNvPr id="5" name="Object 4"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8" name="Rectangle 7"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57200" y="349200"/>
            <a:ext cx="6364188" cy="993775"/>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57201" y="1710000"/>
            <a:ext cx="8204454" cy="302437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3" name="Date Placeholder 2">
            <a:extLst>
              <a:ext uri="{FF2B5EF4-FFF2-40B4-BE49-F238E27FC236}">
                <a16:creationId xmlns:a16="http://schemas.microsoft.com/office/drawing/2014/main" id="{C63B0D2C-48F9-4A74-A019-D89B47F39A7F}"/>
              </a:ext>
            </a:extLst>
          </p:cNvPr>
          <p:cNvSpPr>
            <a:spLocks noGrp="1"/>
          </p:cNvSpPr>
          <p:nvPr>
            <p:ph type="dt" sz="half" idx="11"/>
          </p:nvPr>
        </p:nvSpPr>
        <p:spPr/>
        <p:txBody>
          <a:bodyPr/>
          <a:lstStyle/>
          <a:p>
            <a:endParaRPr lang="en-US"/>
          </a:p>
        </p:txBody>
      </p:sp>
    </p:spTree>
    <p:extLst>
      <p:ext uri="{BB962C8B-B14F-4D97-AF65-F5344CB8AC3E}">
        <p14:creationId xmlns:p14="http://schemas.microsoft.com/office/powerpoint/2010/main" val="1618858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6666782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826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6" name="Picture 15"/>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V="1">
            <a:off x="6771937" y="2"/>
            <a:ext cx="312713" cy="5148263"/>
          </a:xfrm>
          <a:prstGeom prst="rect">
            <a:avLst/>
          </a:prstGeom>
        </p:spPr>
      </p:pic>
      <p:sp>
        <p:nvSpPr>
          <p:cNvPr id="10" name="Rectangle 9"/>
          <p:cNvSpPr/>
          <p:nvPr userDrawn="1"/>
        </p:nvSpPr>
        <p:spPr bwMode="white">
          <a:xfrm>
            <a:off x="0" y="2"/>
            <a:ext cx="6775704"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2"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6091488" cy="993775"/>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011979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41812825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7928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23" name="Picture 22"/>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2753304" y="2"/>
            <a:ext cx="312713" cy="5148263"/>
          </a:xfrm>
          <a:prstGeom prst="rect">
            <a:avLst/>
          </a:prstGeom>
        </p:spPr>
      </p:pic>
      <p:sp>
        <p:nvSpPr>
          <p:cNvPr id="24" name="Title 4"/>
          <p:cNvSpPr>
            <a:spLocks noGrp="1"/>
          </p:cNvSpPr>
          <p:nvPr>
            <p:ph type="title" hasCustomPrompt="1"/>
          </p:nvPr>
        </p:nvSpPr>
        <p:spPr>
          <a:xfrm>
            <a:off x="457200" y="2012690"/>
            <a:ext cx="2361213" cy="1122884"/>
          </a:xfrm>
          <a:prstGeom prst="rect">
            <a:avLst/>
          </a:prstGeom>
        </p:spPr>
        <p:txBody>
          <a:bodyPr anchor="ctr">
            <a:noAutofit/>
          </a:bodyPr>
          <a:lstStyle>
            <a:lvl1pPr>
              <a:defRPr sz="25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3060573" y="-982"/>
            <a:ext cx="6083428" cy="514924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25" name="Date Placeholder 1"/>
          <p:cNvSpPr>
            <a:spLocks noGrp="1"/>
          </p:cNvSpPr>
          <p:nvPr>
            <p:ph type="dt" sz="half" idx="29"/>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2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28" name="TextBox 2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436035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293680504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031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4267189" y="2"/>
            <a:ext cx="312713" cy="5148263"/>
          </a:xfrm>
          <a:prstGeom prst="rect">
            <a:avLst/>
          </a:prstGeom>
        </p:spPr>
      </p:pic>
      <p:sp>
        <p:nvSpPr>
          <p:cNvPr id="11" name="Rectangle 10"/>
          <p:cNvSpPr/>
          <p:nvPr userDrawn="1"/>
        </p:nvSpPr>
        <p:spPr>
          <a:xfrm>
            <a:off x="4572000" y="2"/>
            <a:ext cx="4572000" cy="5148263"/>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4569018" y="2"/>
            <a:ext cx="4574983" cy="5148263"/>
          </a:xfrm>
          <a:prstGeom prst="rect">
            <a:avLst/>
          </a:prstGeom>
          <a:noFill/>
        </p:spPr>
        <p:txBody>
          <a:bodyPr lIns="914400" tIns="914400" rIns="914400" bIns="914400"/>
          <a:lstStyle>
            <a:lvl1pPr algn="ctr">
              <a:defRPr sz="135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57200" y="1340442"/>
            <a:ext cx="3306600" cy="2467383"/>
          </a:xfrm>
          <a:prstGeom prst="rect">
            <a:avLst/>
          </a:prstGeom>
          <a:noFill/>
        </p:spPr>
        <p:txBody>
          <a:bodyPr wrap="square" lIns="0" tIns="0" rIns="320040" bIns="0"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Date Placeholder 2"/>
          <p:cNvSpPr>
            <a:spLocks noGrp="1"/>
          </p:cNvSpPr>
          <p:nvPr>
            <p:ph type="dt" sz="half" idx="15"/>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5865201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66248081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133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0" name="Picture 9"/>
          <p:cNvPicPr>
            <a:picLocks noChangeAspect="1"/>
          </p:cNvPicPr>
          <p:nvPr userDrawn="1"/>
        </p:nvPicPr>
        <p:blipFill rotWithShape="1">
          <a:blip r:embed="rId8">
            <a:extLst>
              <a:ext uri="{28A0092B-C50C-407E-A947-70E740481C1C}">
                <a14:useLocalDpi xmlns:a14="http://schemas.microsoft.com/office/drawing/2010/main" val="0"/>
              </a:ext>
            </a:extLst>
          </a:blip>
          <a:srcRect l="29398" t="8741" r="101" b="27"/>
          <a:stretch/>
        </p:blipFill>
        <p:spPr bwMode="ltGray">
          <a:xfrm flipH="1">
            <a:off x="5557389" y="2"/>
            <a:ext cx="312713" cy="5148263"/>
          </a:xfrm>
          <a:prstGeom prst="rect">
            <a:avLst/>
          </a:prstGeom>
        </p:spPr>
      </p:pic>
      <p:sp>
        <p:nvSpPr>
          <p:cNvPr id="11" name="Rectangle 10"/>
          <p:cNvSpPr/>
          <p:nvPr userDrawn="1"/>
        </p:nvSpPr>
        <p:spPr bwMode="gray">
          <a:xfrm>
            <a:off x="5864660" y="2"/>
            <a:ext cx="3279343" cy="514826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5865021" y="2"/>
            <a:ext cx="3278981" cy="5148263"/>
          </a:xfrm>
          <a:prstGeom prst="rect">
            <a:avLst/>
          </a:prstGeom>
          <a:noFill/>
        </p:spPr>
        <p:txBody>
          <a:bodyPr lIns="182880" tIns="914400" rIns="182880" bIns="914400"/>
          <a:lstStyle>
            <a:lvl1pPr algn="ctr">
              <a:defRPr sz="12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8225"/>
            <a:ext cx="1111538" cy="115523"/>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57200" y="1340442"/>
            <a:ext cx="4701666" cy="2467383"/>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2468199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486993338"/>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82358" name="think-cell Slide" r:id="rId6" imgW="324" imgH="324" progId="TCLayout.ActiveDocument.1">
                  <p:embed/>
                </p:oleObj>
              </mc:Choice>
              <mc:Fallback>
                <p:oleObj name="think-cell Slide" r:id="rId6" imgW="324" imgH="324" progId="TCLayout.ActiveDocument.1">
                  <p:embed/>
                  <p:pic>
                    <p:nvPicPr>
                      <p:cNvPr id="3" name="Object 2" hidden="1"/>
                      <p:cNvPicPr/>
                      <p:nvPr/>
                    </p:nvPicPr>
                    <p:blipFill>
                      <a:blip r:embed="rId7"/>
                      <a:stretch>
                        <a:fillRect/>
                      </a:stretch>
                    </p:blipFill>
                    <p:spPr>
                      <a:xfrm>
                        <a:off x="1192" y="1195"/>
                        <a:ext cx="1190" cy="1191"/>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8" name="TextBox 17"/>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457200" y="2075072"/>
            <a:ext cx="1874281" cy="986646"/>
          </a:xfrm>
          <a:prstGeom prst="rect">
            <a:avLst/>
          </a:prstGeom>
        </p:spPr>
        <p:txBody>
          <a:bodyPr anchor="ctr">
            <a:noAutofit/>
          </a:bodyPr>
          <a:lstStyle>
            <a:lvl1pPr>
              <a:defRPr sz="2500">
                <a:solidFill>
                  <a:srgbClr val="002D3F"/>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2349331" y="2695294"/>
            <a:ext cx="1023938" cy="2539571"/>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50472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1889323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338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0" name="Freeform 14"/>
          <p:cNvSpPr/>
          <p:nvPr userDrawn="1"/>
        </p:nvSpPr>
        <p:spPr bwMode="ltGray">
          <a:xfrm>
            <a:off x="1143" y="983"/>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5" name="Title 4"/>
          <p:cNvSpPr>
            <a:spLocks noGrp="1"/>
          </p:cNvSpPr>
          <p:nvPr>
            <p:ph type="title" hasCustomPrompt="1"/>
          </p:nvPr>
        </p:nvSpPr>
        <p:spPr>
          <a:xfrm>
            <a:off x="457200" y="2075072"/>
            <a:ext cx="1874281" cy="986646"/>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5"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7"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1630981" y="2554487"/>
            <a:ext cx="2021000" cy="2598713"/>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996691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3177352777"/>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4406"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0" name="Date Placeholder 7"/>
          <p:cNvSpPr>
            <a:spLocks noGrp="1"/>
          </p:cNvSpPr>
          <p:nvPr>
            <p:ph type="dt" sz="half" idx="11"/>
          </p:nvPr>
        </p:nvSpPr>
        <p:spPr>
          <a:xfrm>
            <a:off x="7258051" y="4808225"/>
            <a:ext cx="1111538" cy="115523"/>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2"/>
            <a:ext cx="407019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002D3F"/>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436146" y="2548154"/>
            <a:ext cx="973931" cy="2681387"/>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3077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37221026"/>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543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9" name="Pentagon 3"/>
          <p:cNvSpPr/>
          <p:nvPr userDrawn="1"/>
        </p:nvSpPr>
        <p:spPr bwMode="white">
          <a:xfrm>
            <a:off x="1" y="2"/>
            <a:ext cx="407019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0" name="Title 1"/>
          <p:cNvSpPr>
            <a:spLocks noGrp="1"/>
          </p:cNvSpPr>
          <p:nvPr>
            <p:ph type="title" hasCustomPrompt="1"/>
          </p:nvPr>
        </p:nvSpPr>
        <p:spPr>
          <a:xfrm>
            <a:off x="457200" y="1340442"/>
            <a:ext cx="3061977" cy="2467383"/>
          </a:xfrm>
          <a:prstGeom prst="rect">
            <a:avLst/>
          </a:prstGeom>
        </p:spPr>
        <p:txBody>
          <a:bodyPr anchor="ctr">
            <a:noAutofit/>
          </a:bodyPr>
          <a:lstStyle>
            <a:lvl1pPr>
              <a:defRPr sz="3200" b="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2683546" y="2564599"/>
            <a:ext cx="2021000" cy="258366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046736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3229879032"/>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6454"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latin typeface="+mj-lt"/>
                <a:ea typeface="+mj-ea"/>
                <a:cs typeface="+mj-cs"/>
                <a:sym typeface="+mj-lt"/>
              </a:defRPr>
            </a:lvl1pPr>
          </a:lstStyle>
          <a:p>
            <a:r>
              <a:rPr lang="en-US"/>
              <a:t>Click to add title</a:t>
            </a: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18"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6" name="TextBox 15"/>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048354" y="2694698"/>
            <a:ext cx="1023938" cy="2539571"/>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1270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2308290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7478"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9" name="Pentagon 8"/>
          <p:cNvSpPr/>
          <p:nvPr/>
        </p:nvSpPr>
        <p:spPr bwMode="white">
          <a:xfrm>
            <a:off x="1" y="2"/>
            <a:ext cx="4772660" cy="5148263"/>
          </a:xfrm>
          <a:prstGeom prst="homePlate">
            <a:avLst>
              <a:gd name="adj" fmla="val 12939"/>
            </a:avLst>
          </a:pr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3" name="Title 2"/>
          <p:cNvSpPr>
            <a:spLocks noGrp="1"/>
          </p:cNvSpPr>
          <p:nvPr>
            <p:ph type="title" hasCustomPrompt="1"/>
          </p:nvPr>
        </p:nvSpPr>
        <p:spPr>
          <a:xfrm>
            <a:off x="457200" y="349200"/>
            <a:ext cx="3576169"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4"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noProof="0" smtClean="0">
                <a:ln>
                  <a:noFill/>
                </a:ln>
                <a:solidFill>
                  <a:srgbClr val="FF0000"/>
                </a:solidFill>
                <a:effectLst/>
                <a:uLnTx/>
                <a:uFillTx/>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5"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3345130" y="2558219"/>
            <a:ext cx="2021000" cy="2594814"/>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688934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280424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5558"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5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6" name="Title 1"/>
          <p:cNvSpPr>
            <a:spLocks noGrp="1"/>
          </p:cNvSpPr>
          <p:nvPr>
            <p:ph type="ctrTitle" hasCustomPrompt="1"/>
          </p:nvPr>
        </p:nvSpPr>
        <p:spPr>
          <a:xfrm>
            <a:off x="864000" y="2044800"/>
            <a:ext cx="6858000" cy="457323"/>
          </a:xfrm>
        </p:spPr>
        <p:txBody>
          <a:bodyPr vert="horz" lIns="0" tIns="0" rIns="0" bIns="0" rtlCol="0" anchor="t" anchorCtr="0">
            <a:normAutofit/>
          </a:bodyPr>
          <a:lstStyle>
            <a:lvl1pPr>
              <a:defRPr kumimoji="0" lang="en-US" b="1" i="0" u="none" strike="noStrike" cap="none" spc="0" normalizeH="0" baseline="0" dirty="0">
                <a:ln>
                  <a:noFill/>
                </a:ln>
                <a:solidFill>
                  <a:prstClr val="white"/>
                </a:solidFill>
                <a:effectLst/>
                <a:uLnTx/>
                <a:uFillTx/>
              </a:defRPr>
            </a:lvl1pPr>
          </a:lstStyle>
          <a:p>
            <a:pPr marL="0" marR="0" lvl="0" indent="0" defTabSz="914400" fontAlgn="auto">
              <a:spcAft>
                <a:spcPts val="0"/>
              </a:spcAft>
              <a:buClrTx/>
              <a:buSzTx/>
              <a:buFontTx/>
              <a:tabLst/>
            </a:pPr>
            <a:r>
              <a:rPr lang="en-US"/>
              <a:t>Title of the presentation</a:t>
            </a:r>
          </a:p>
        </p:txBody>
      </p:sp>
      <p:sp>
        <p:nvSpPr>
          <p:cNvPr id="17" name="Subtitle 2"/>
          <p:cNvSpPr>
            <a:spLocks noGrp="1"/>
          </p:cNvSpPr>
          <p:nvPr>
            <p:ph type="subTitle" idx="1" hasCustomPrompt="1"/>
          </p:nvPr>
        </p:nvSpPr>
        <p:spPr>
          <a:xfrm>
            <a:off x="864000" y="2574000"/>
            <a:ext cx="6858000" cy="432179"/>
          </a:xfrm>
        </p:spPr>
        <p:txBody>
          <a:bodyPr vert="horz" lIns="0" tIns="0" rIns="0" bIns="0" rtlCol="0">
            <a:normAutofit/>
          </a:bodyPr>
          <a:lstStyle>
            <a:lvl1pPr>
              <a:defRPr kumimoji="0" lang="en-AU" sz="1800" b="1" i="0" u="none" strike="noStrike" cap="none" spc="0" normalizeH="0" baseline="0" dirty="0">
                <a:ln>
                  <a:noFill/>
                </a:ln>
                <a:solidFill>
                  <a:srgbClr val="E7E6E6"/>
                </a:solidFill>
                <a:effectLst/>
                <a:uLnTx/>
                <a:uFillTx/>
              </a:defRPr>
            </a:lvl1pPr>
          </a:lstStyle>
          <a:p>
            <a:pPr marR="0" lvl="0" defTabSz="914400" fontAlgn="auto">
              <a:lnSpc>
                <a:spcPct val="90000"/>
              </a:lnSpc>
              <a:spcBef>
                <a:spcPts val="1000"/>
              </a:spcBef>
              <a:spcAft>
                <a:spcPts val="0"/>
              </a:spcAft>
              <a:buClrTx/>
              <a:buSzTx/>
              <a:buNone/>
              <a:tabLst/>
            </a:pPr>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2" name="Footer Placeholder 1">
            <a:extLst>
              <a:ext uri="{FF2B5EF4-FFF2-40B4-BE49-F238E27FC236}">
                <a16:creationId xmlns:a16="http://schemas.microsoft.com/office/drawing/2014/main" id="{097888DC-9EC7-4A3B-A02E-F798D34E6A18}"/>
              </a:ext>
            </a:extLst>
          </p:cNvPr>
          <p:cNvSpPr>
            <a:spLocks noGrp="1"/>
          </p:cNvSpPr>
          <p:nvPr>
            <p:ph type="ftr" sz="quarter" idx="10"/>
          </p:nvPr>
        </p:nvSpPr>
        <p:spPr>
          <a:xfrm>
            <a:off x="3124200" y="6356350"/>
            <a:ext cx="2895600" cy="365125"/>
          </a:xfrm>
          <a:prstGeom prst="rect">
            <a:avLst/>
          </a:prstGeom>
        </p:spPr>
        <p:txBody>
          <a:bodyPr/>
          <a:lstStyle>
            <a:lvl1pPr algn="ctr">
              <a:defRPr sz="1200" b="1" i="0" u="none">
                <a:solidFill>
                  <a:srgbClr val="FF0000"/>
                </a:solidFill>
                <a:latin typeface="Arial" panose="020B0604020202020204" pitchFamily="34" charset="0"/>
              </a:defRPr>
            </a:lvl1pPr>
          </a:lstStyle>
          <a:p>
            <a:endParaRPr lang="en-AU"/>
          </a:p>
        </p:txBody>
      </p:sp>
    </p:spTree>
    <p:extLst>
      <p:ext uri="{BB962C8B-B14F-4D97-AF65-F5344CB8AC3E}">
        <p14:creationId xmlns:p14="http://schemas.microsoft.com/office/powerpoint/2010/main" val="3151911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ext uri="{D42A27DB-BD31-4B8C-83A1-F6EECF244321}">
                <p14:modId xmlns:p14="http://schemas.microsoft.com/office/powerpoint/2010/main" val="1705941911"/>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8502" name="think-cell Slide" r:id="rId6" imgW="286" imgH="286" progId="TCLayout.ActiveDocument.1">
                  <p:embed/>
                </p:oleObj>
              </mc:Choice>
              <mc:Fallback>
                <p:oleObj name="think-cell Slide" r:id="rId6" imgW="286" imgH="286" progId="TCLayout.ActiveDocument.1">
                  <p:embed/>
                  <p:pic>
                    <p:nvPicPr>
                      <p:cNvPr id="4" name="Object 3"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5" name="TextBox 14"/>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5617756" y="2694698"/>
            <a:ext cx="1023938" cy="2539571"/>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039736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357389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89526" name="think-cell Slide" r:id="rId5" imgW="286" imgH="286" progId="TCLayout.ActiveDocument.1">
                  <p:embed/>
                </p:oleObj>
              </mc:Choice>
              <mc:Fallback>
                <p:oleObj name="think-cell Slide" r:id="rId5" imgW="286" imgH="286" progId="TCLayout.ActiveDocument.1">
                  <p:embed/>
                  <p:pic>
                    <p:nvPicPr>
                      <p:cNvPr id="4" name="Object 3"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2" name="Freeform 18"/>
          <p:cNvSpPr/>
          <p:nvPr userDrawn="1"/>
        </p:nvSpPr>
        <p:spPr bwMode="white">
          <a:xfrm>
            <a:off x="2" y="2"/>
            <a:ext cx="6334679" cy="5148263"/>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100000">
                <a:srgbClr val="002D3F"/>
              </a:gs>
              <a:gs pos="0">
                <a:srgbClr val="00425C"/>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mn-lt"/>
            </a:endParaRPr>
          </a:p>
        </p:txBody>
      </p:sp>
      <p:sp>
        <p:nvSpPr>
          <p:cNvPr id="2" name="Title 1"/>
          <p:cNvSpPr>
            <a:spLocks noGrp="1"/>
          </p:cNvSpPr>
          <p:nvPr>
            <p:ph type="title" hasCustomPrompt="1"/>
          </p:nvPr>
        </p:nvSpPr>
        <p:spPr>
          <a:xfrm>
            <a:off x="457200" y="349200"/>
            <a:ext cx="4706172" cy="993775"/>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7"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8"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200" b="1" i="0" u="none" strike="noStrike" kern="1200" cap="none" spc="0" normalizeH="0" baseline="0" noProof="0" smtClean="0">
                <a:ln>
                  <a:noFill/>
                </a:ln>
                <a:solidFill>
                  <a:srgbClr val="FF0000"/>
                </a:solidFill>
                <a:effectLst/>
                <a:uLnTx/>
                <a:uFillTx/>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19"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925722" y="2558219"/>
            <a:ext cx="2021000" cy="2594814"/>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5793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3"/>
            </p:custDataLst>
            <p:extLst>
              <p:ext uri="{D42A27DB-BD31-4B8C-83A1-F6EECF244321}">
                <p14:modId xmlns:p14="http://schemas.microsoft.com/office/powerpoint/2010/main" val="107616053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0550"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5" name="Rectangle 4" hidden="1"/>
          <p:cNvSpPr/>
          <p:nvPr userDrawn="1">
            <p:custDataLst>
              <p:tags r:id="rId4"/>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10" name="TextBox 9"/>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472500" y="2872407"/>
            <a:ext cx="8199900" cy="1206028"/>
          </a:xfr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850434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628252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1574"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193" y="1192"/>
                        <a:ext cx="1191" cy="1192"/>
                      </a:xfrm>
                      <a:prstGeom prst="rect">
                        <a:avLst/>
                      </a:prstGeom>
                    </p:spPr>
                  </p:pic>
                </p:oleObj>
              </mc:Fallback>
            </mc:AlternateContent>
          </a:graphicData>
        </a:graphic>
      </p:graphicFrame>
      <p:sp>
        <p:nvSpPr>
          <p:cNvPr id="4" name="Rectangle 3" hidden="1"/>
          <p:cNvSpPr/>
          <p:nvPr userDrawn="1">
            <p:custDataLst>
              <p:tags r:id="rId3"/>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Date Placeholder 7"/>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11"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
        <p:nvSpPr>
          <p:cNvPr id="6" name="Rectangle 5"/>
          <p:cNvSpPr/>
          <p:nvPr userDrawn="1"/>
        </p:nvSpPr>
        <p:spPr bwMode="white">
          <a:xfrm>
            <a:off x="472500" y="469541"/>
            <a:ext cx="699516" cy="700164"/>
          </a:xfrm>
          <a:prstGeom prst="rect">
            <a:avLst/>
          </a:prstGeom>
          <a:noFill/>
          <a:ln>
            <a:solidFill>
              <a:srgbClr val="002D3F"/>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72500" y="2872407"/>
            <a:ext cx="8199900" cy="1206028"/>
          </a:xfrm>
          <a:prstGeom prst="rect">
            <a:avLst/>
          </a:prstGeom>
        </p:spPr>
        <p:txBody>
          <a:bodyPr anchor="b">
            <a:noAutofit/>
          </a:bodyPr>
          <a:lstStyle>
            <a:lvl1pPr marL="0" algn="l" defTabSz="685783" rtl="0" eaLnBrk="1" fontAlgn="auto" latinLnBrk="0" hangingPunct="1">
              <a:lnSpc>
                <a:spcPts val="4500"/>
              </a:lnSpc>
              <a:spcBef>
                <a:spcPts val="0"/>
              </a:spcBef>
              <a:spcAft>
                <a:spcPts val="0"/>
              </a:spcAft>
              <a:defRPr lang="en-US" sz="4000" kern="1200" baseline="0" dirty="0">
                <a:solidFill>
                  <a:srgbClr val="002D3F"/>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238367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212E"/>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99956480"/>
              </p:ext>
            </p:extLst>
          </p:nvPr>
        </p:nvGraphicFramePr>
        <p:xfrm>
          <a:off x="1192" y="1195"/>
          <a:ext cx="1190" cy="1191"/>
        </p:xfrm>
        <a:graphic>
          <a:graphicData uri="http://schemas.openxmlformats.org/presentationml/2006/ole">
            <mc:AlternateContent xmlns:mc="http://schemas.openxmlformats.org/markup-compatibility/2006">
              <mc:Choice xmlns:v="urn:schemas-microsoft-com:vml" Requires="v">
                <p:oleObj spid="_x0000_s9259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5"/>
                        <a:ext cx="1190" cy="1191"/>
                      </a:xfrm>
                      <a:prstGeom prst="rect">
                        <a:avLst/>
                      </a:prstGeom>
                    </p:spPr>
                  </p:pic>
                </p:oleObj>
              </mc:Fallback>
            </mc:AlternateContent>
          </a:graphicData>
        </a:graphic>
      </p:graphicFrame>
      <p:sp>
        <p:nvSpPr>
          <p:cNvPr id="6" name="JS SlideHeader"/>
          <p:cNvSpPr txBox="1"/>
          <p:nvPr userDrawn="1"/>
        </p:nvSpPr>
        <p:spPr>
          <a:xfrm>
            <a:off x="8375904" y="4739082"/>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2" name="Date Placeholder 1"/>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7831" y="79632"/>
            <a:ext cx="577477"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9144000" cy="440457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002D3F"/>
          </a:solidFill>
          <a:ln>
            <a:noFill/>
          </a:ln>
          <a:effectLst/>
        </p:spPr>
        <p:txBody>
          <a:bodyPr vert="horz" wrap="square" lIns="68580" tIns="34290" rIns="68580" bIns="34290" numCol="1" anchor="t" anchorCtr="0" compatLnSpc="1">
            <a:prstTxWarp prst="textNoShape">
              <a:avLst/>
            </a:prstTxWarp>
            <a:noAutofit/>
          </a:bodyPr>
          <a:lstStyle/>
          <a:p>
            <a:endParaRPr lang="en-US" sz="1013">
              <a:latin typeface="+mn-lt"/>
              <a:ea typeface="+mn-ea"/>
              <a:cs typeface="+mn-cs"/>
              <a:sym typeface="+mn-lt"/>
            </a:endParaRPr>
          </a:p>
        </p:txBody>
      </p:sp>
    </p:spTree>
    <p:extLst>
      <p:ext uri="{BB962C8B-B14F-4D97-AF65-F5344CB8AC3E}">
        <p14:creationId xmlns:p14="http://schemas.microsoft.com/office/powerpoint/2010/main" val="3995543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2C2C2C"/>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6183695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3622"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5" name="JS SlideHeader"/>
          <p:cNvSpPr txBox="1"/>
          <p:nvPr/>
        </p:nvSpPr>
        <p:spPr bwMode="white">
          <a:xfrm>
            <a:off x="8375904" y="4738605"/>
            <a:ext cx="285750" cy="184666"/>
          </a:xfrm>
          <a:prstGeom prst="rect">
            <a:avLst/>
          </a:prstGeom>
          <a:noFill/>
        </p:spPr>
        <p:txBody>
          <a:bodyPr wrap="square" lIns="0" tIns="0" rIns="0" bIns="0" rtlCol="0" anchor="b">
            <a:spAutoFit/>
          </a:bodyPr>
          <a:lstStyle/>
          <a:p>
            <a:pPr marL="0" marR="0" indent="0" algn="ct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1200" b="1" i="0" u="none" kern="1200" smtClean="0">
                <a:solidFill>
                  <a:srgbClr val="FF0000"/>
                </a:solidFill>
                <a:latin typeface="Arial" panose="020B0604020202020204" pitchFamily="34" charset="0"/>
                <a:ea typeface="+mn-ea"/>
                <a:cs typeface="+mn-cs"/>
                <a:sym typeface="+mn-lt"/>
              </a:rPr>
              <a:pPr marL="0" marR="0" indent="0" algn="ctr" defTabSz="685783" rtl="0" eaLnBrk="1" fontAlgn="auto" latinLnBrk="0" hangingPunct="1">
                <a:lnSpc>
                  <a:spcPct val="100000"/>
                </a:lnSpc>
                <a:spcBef>
                  <a:spcPts val="0"/>
                </a:spcBef>
                <a:spcAft>
                  <a:spcPts val="0"/>
                </a:spcAft>
                <a:buClrTx/>
                <a:buSzTx/>
                <a:buFontTx/>
                <a:buNone/>
                <a:tabLst/>
                <a:defRPr/>
              </a:pPr>
              <a:t>‹#›</a:t>
            </a:fld>
            <a:endParaRPr lang="en-US" sz="1200" b="1" i="0" u="none" kern="1200">
              <a:solidFill>
                <a:srgbClr val="FF0000"/>
              </a:solidFill>
              <a:latin typeface="Arial" panose="020B0604020202020204" pitchFamily="34" charset="0"/>
              <a:ea typeface="+mn-ea"/>
              <a:cs typeface="+mn-cs"/>
              <a:sym typeface="+mn-lt"/>
            </a:endParaRPr>
          </a:p>
        </p:txBody>
      </p:sp>
      <p:sp>
        <p:nvSpPr>
          <p:cNvPr id="3" name="Date Placeholder 2"/>
          <p:cNvSpPr>
            <a:spLocks noGrp="1"/>
          </p:cNvSpPr>
          <p:nvPr>
            <p:ph type="dt" sz="half" idx="10"/>
          </p:nvPr>
        </p:nvSpPr>
        <p:spPr/>
        <p:txBody>
          <a:bodyPr/>
          <a:lstStyle>
            <a:lvl1pPr>
              <a:defRPr>
                <a:solidFill>
                  <a:schemeClr val="bg1"/>
                </a:solidFill>
                <a:latin typeface="+mn-lt"/>
                <a:ea typeface="+mn-ea"/>
                <a:cs typeface="+mn-cs"/>
                <a:sym typeface="+mn-lt"/>
              </a:defRPr>
            </a:lvl1pPr>
          </a:lstStyle>
          <a:p>
            <a:endParaRPr lang="en-US"/>
          </a:p>
        </p:txBody>
      </p:sp>
      <p:sp>
        <p:nvSpPr>
          <p:cNvPr id="11"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57200" y="349200"/>
            <a:ext cx="6364188" cy="993775"/>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21574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4003185"/>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4646"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3" name="Freeform 12"/>
          <p:cNvSpPr/>
          <p:nvPr/>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17" name="Freeform 12"/>
          <p:cNvSpPr/>
          <p:nvPr userDrawn="1"/>
        </p:nvSpPr>
        <p:spPr bwMode="ltGray">
          <a:xfrm>
            <a:off x="0" y="2"/>
            <a:ext cx="3066234" cy="5148263"/>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mn-lt"/>
            </a:endParaRPr>
          </a:p>
        </p:txBody>
      </p:sp>
      <p:sp>
        <p:nvSpPr>
          <p:cNvPr id="20" name="JS SlideHeader"/>
          <p:cNvSpPr txBox="1"/>
          <p:nvPr userDrawn="1"/>
        </p:nvSpPr>
        <p:spPr>
          <a:xfrm>
            <a:off x="457200" y="2505561"/>
            <a:ext cx="2129850" cy="181909"/>
          </a:xfrm>
          <a:prstGeom prst="rect">
            <a:avLst/>
          </a:prstGeom>
          <a:noFill/>
        </p:spPr>
        <p:txBody>
          <a:bodyPr wrap="square" lIns="0" tIns="0" rIns="0" bIns="0" rtlCol="0" anchor="ctr">
            <a:spAutoFit/>
          </a:bodyPr>
          <a:lstStyle/>
          <a:p>
            <a:pPr marL="0" indent="0" algn="ctr">
              <a:lnSpc>
                <a:spcPct val="106000"/>
              </a:lnSpc>
              <a:spcAft>
                <a:spcPts val="525"/>
              </a:spcAft>
              <a:buFontTx/>
              <a:buNone/>
            </a:pPr>
            <a:r>
              <a:rPr lang="en-US" sz="1200" b="1" i="0" u="none">
                <a:solidFill>
                  <a:srgbClr val="FF0000"/>
                </a:solidFill>
                <a:latin typeface="Arial" panose="020B0604020202020204" pitchFamily="34" charset="0"/>
                <a:ea typeface="+mn-ea"/>
                <a:cs typeface="+mn-cs"/>
                <a:sym typeface="+mn-lt"/>
              </a:rPr>
              <a:t>Table of contents</a:t>
            </a:r>
          </a:p>
        </p:txBody>
      </p:sp>
      <p:sp>
        <p:nvSpPr>
          <p:cNvPr id="15"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24" name="Copyright" hidden="1"/>
          <p:cNvSpPr txBox="1"/>
          <p:nvPr userDrawn="1"/>
        </p:nvSpPr>
        <p:spPr>
          <a:xfrm rot="16200000">
            <a:off x="7113395" y="2944632"/>
            <a:ext cx="3854047"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331478" y="2692554"/>
            <a:ext cx="1023938" cy="2539571"/>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111732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100000">
              <a:srgbClr val="002D3F"/>
            </a:gs>
            <a:gs pos="0">
              <a:srgbClr val="00425C"/>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
            </p:custDataLst>
            <p:extLst>
              <p:ext uri="{D42A27DB-BD31-4B8C-83A1-F6EECF244321}">
                <p14:modId xmlns:p14="http://schemas.microsoft.com/office/powerpoint/2010/main" val="3680832600"/>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5671"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8225"/>
            <a:ext cx="1111538" cy="115523"/>
          </a:xfrm>
        </p:spPr>
        <p:txBody>
          <a:bodyPr/>
          <a:lstStyle>
            <a:lvl1pPr>
              <a:defRPr>
                <a:solidFill>
                  <a:schemeClr val="bg1"/>
                </a:solidFill>
                <a:latin typeface="+mn-lt"/>
                <a:ea typeface="+mn-ea"/>
                <a:cs typeface="+mn-cs"/>
                <a:sym typeface="+mn-lt"/>
              </a:defRPr>
            </a:lvl1pPr>
          </a:lstStyle>
          <a:p>
            <a:endParaRPr lang="en-US"/>
          </a:p>
        </p:txBody>
      </p:sp>
      <p:sp>
        <p:nvSpPr>
          <p:cNvPr id="9"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3505630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496938"/>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6694"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193" y="1192"/>
                        <a:ext cx="1191" cy="1192"/>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mn-lt"/>
              </a:defRPr>
            </a:lvl1pPr>
          </a:lstStyle>
          <a:p>
            <a:endParaRPr lang="en-US"/>
          </a:p>
        </p:txBody>
      </p:sp>
      <p:sp>
        <p:nvSpPr>
          <p:cNvPr id="5"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4002854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D. Disclaim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7762379"/>
              </p:ext>
            </p:extLst>
          </p:nvPr>
        </p:nvGraphicFramePr>
        <p:xfrm>
          <a:off x="1193" y="1192"/>
          <a:ext cx="1191" cy="1192"/>
        </p:xfrm>
        <a:graphic>
          <a:graphicData uri="http://schemas.openxmlformats.org/presentationml/2006/ole">
            <mc:AlternateContent xmlns:mc="http://schemas.openxmlformats.org/markup-compatibility/2006">
              <mc:Choice xmlns:v="urn:schemas-microsoft-com:vml" Requires="v">
                <p:oleObj spid="_x0000_s97718"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193" y="1192"/>
                        <a:ext cx="1191" cy="1192"/>
                      </a:xfrm>
                      <a:prstGeom prst="rect">
                        <a:avLst/>
                      </a:prstGeom>
                    </p:spPr>
                  </p:pic>
                </p:oleObj>
              </mc:Fallback>
            </mc:AlternateContent>
          </a:graphicData>
        </a:graphic>
      </p:graphicFrame>
      <p:sp>
        <p:nvSpPr>
          <p:cNvPr id="10" name="JS SlideHeader" hidden="1"/>
          <p:cNvSpPr txBox="1"/>
          <p:nvPr userDrawn="1"/>
        </p:nvSpPr>
        <p:spPr>
          <a:xfrm rot="16200000">
            <a:off x="7113395" y="2814789"/>
            <a:ext cx="3854047" cy="332399"/>
          </a:xfrm>
          <a:prstGeom prst="rect">
            <a:avLst/>
          </a:prstGeom>
          <a:noFill/>
        </p:spPr>
        <p:txBody>
          <a:bodyPr wrap="square" lIns="0" tIns="0" rIns="0" bIns="0" rtlCol="0" anchor="t">
            <a:spAutoFit/>
          </a:bodyPr>
          <a:lstStyle/>
          <a:p>
            <a:pPr algn="ctr">
              <a:lnSpc>
                <a:spcPct val="90000"/>
              </a:lnSpc>
              <a:spcAft>
                <a:spcPts val="450"/>
              </a:spcAft>
            </a:pPr>
            <a:r>
              <a:rPr lang="en-US" sz="1200" b="1" i="0" u="none">
                <a:solidFill>
                  <a:srgbClr val="FF0000"/>
                </a:solidFill>
                <a:latin typeface="Arial" panose="020B0604020202020204" pitchFamily="34" charset="0"/>
                <a:ea typeface="+mn-ea"/>
                <a:cs typeface="+mn-cs"/>
                <a:sym typeface="+mn-lt"/>
              </a:rPr>
              <a:t>Copyright © 2020 by Boston Consulting Group. All rights reserved.</a:t>
            </a:r>
          </a:p>
        </p:txBody>
      </p:sp>
    </p:spTree>
    <p:extLst>
      <p:ext uri="{BB962C8B-B14F-4D97-AF65-F5344CB8AC3E}">
        <p14:creationId xmlns:p14="http://schemas.microsoft.com/office/powerpoint/2010/main" val="3118815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image" Target="../media/image5.jpe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34.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50" Type="http://schemas.openxmlformats.org/officeDocument/2006/relationships/slideLayout" Target="../slideLayouts/slideLayout58.xml"/><Relationship Id="rId55" Type="http://schemas.openxmlformats.org/officeDocument/2006/relationships/slideLayout" Target="../slideLayouts/slideLayout63.xml"/><Relationship Id="rId63" Type="http://schemas.openxmlformats.org/officeDocument/2006/relationships/tags" Target="../tags/tag6.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slideLayout" Target="../slideLayouts/slideLayout66.xml"/><Relationship Id="rId66" Type="http://schemas.openxmlformats.org/officeDocument/2006/relationships/image" Target="../media/image6.emf"/><Relationship Id="rId5" Type="http://schemas.openxmlformats.org/officeDocument/2006/relationships/slideLayout" Target="../slideLayouts/slideLayout13.xml"/><Relationship Id="rId61" Type="http://schemas.openxmlformats.org/officeDocument/2006/relationships/theme" Target="../theme/theme3.xml"/><Relationship Id="rId19" Type="http://schemas.openxmlformats.org/officeDocument/2006/relationships/slideLayout" Target="../slideLayouts/slideLayout2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slideLayout" Target="../slideLayouts/slideLayout64.xml"/><Relationship Id="rId64" Type="http://schemas.openxmlformats.org/officeDocument/2006/relationships/tags" Target="../tags/tag7.xml"/><Relationship Id="rId8" Type="http://schemas.openxmlformats.org/officeDocument/2006/relationships/slideLayout" Target="../slideLayouts/slideLayout16.xml"/><Relationship Id="rId51" Type="http://schemas.openxmlformats.org/officeDocument/2006/relationships/slideLayout" Target="../slideLayouts/slideLayout59.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59" Type="http://schemas.openxmlformats.org/officeDocument/2006/relationships/slideLayout" Target="../slideLayouts/slideLayout67.xml"/><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slideLayout" Target="../slideLayouts/slideLayout62.xml"/><Relationship Id="rId62" Type="http://schemas.openxmlformats.org/officeDocument/2006/relationships/vmlDrawing" Target="../drawings/vmlDrawing4.vml"/><Relationship Id="rId1" Type="http://schemas.openxmlformats.org/officeDocument/2006/relationships/slideLayout" Target="../slideLayouts/slideLayout9.xml"/><Relationship Id="rId6" Type="http://schemas.openxmlformats.org/officeDocument/2006/relationships/slideLayout" Target="../slideLayouts/slideLayout14.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slideLayout" Target="../slideLayouts/slideLayout65.xml"/><Relationship Id="rId10" Type="http://schemas.openxmlformats.org/officeDocument/2006/relationships/slideLayout" Target="../slideLayouts/slideLayout18.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 Id="rId60" Type="http://schemas.openxmlformats.org/officeDocument/2006/relationships/slideLayout" Target="../slideLayouts/slideLayout68.xml"/><Relationship Id="rId65" Type="http://schemas.openxmlformats.org/officeDocument/2006/relationships/oleObject" Target="../embeddings/oleObject4.bin"/><Relationship Id="rId4" Type="http://schemas.openxmlformats.org/officeDocument/2006/relationships/slideLayout" Target="../slideLayouts/slideLayout12.xml"/><Relationship Id="rId9" Type="http://schemas.openxmlformats.org/officeDocument/2006/relationships/slideLayout" Target="../slideLayouts/slideLayout17.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9" Type="http://schemas.openxmlformats.org/officeDocument/2006/relationships/slideLayout" Target="../slideLayouts/slideLayout4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tags" Target="../tags/tag107.xml"/><Relationship Id="rId7" Type="http://schemas.openxmlformats.org/officeDocument/2006/relationships/slideLayout" Target="../slideLayouts/slideLayout7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9" Type="http://schemas.openxmlformats.org/officeDocument/2006/relationships/slideLayout" Target="../slideLayouts/slideLayout97.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vmlDrawing" Target="../drawings/vmlDrawing64.v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49" Type="http://schemas.openxmlformats.org/officeDocument/2006/relationships/image" Target="../media/image6.emf"/><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theme" Target="../theme/theme4.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oleObject" Target="../embeddings/oleObject64.bin"/><Relationship Id="rId8" Type="http://schemas.openxmlformats.org/officeDocument/2006/relationships/slideLayout" Target="../slideLayouts/slideLayout76.xml"/><Relationship Id="rId3" Type="http://schemas.openxmlformats.org/officeDocument/2006/relationships/slideLayout" Target="../slideLayouts/slideLayout71.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tags" Target="../tags/tag106.xml"/><Relationship Id="rId20" Type="http://schemas.openxmlformats.org/officeDocument/2006/relationships/slideLayout" Target="../slideLayouts/slideLayout88.xml"/><Relationship Id="rId41" Type="http://schemas.openxmlformats.org/officeDocument/2006/relationships/slideLayout" Target="../slideLayouts/slideLayout109.xml"/><Relationship Id="rId1" Type="http://schemas.openxmlformats.org/officeDocument/2006/relationships/slideLayout" Target="../slideLayouts/slideLayout69.xml"/><Relationship Id="rId6" Type="http://schemas.openxmlformats.org/officeDocument/2006/relationships/slideLayout" Target="../slideLayouts/slideLayout7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26" Type="http://schemas.openxmlformats.org/officeDocument/2006/relationships/slideLayout" Target="../slideLayouts/slideLayout137.xml"/><Relationship Id="rId39" Type="http://schemas.openxmlformats.org/officeDocument/2006/relationships/slideLayout" Target="../slideLayouts/slideLayout150.xml"/><Relationship Id="rId21" Type="http://schemas.openxmlformats.org/officeDocument/2006/relationships/slideLayout" Target="../slideLayouts/slideLayout132.xml"/><Relationship Id="rId34" Type="http://schemas.openxmlformats.org/officeDocument/2006/relationships/slideLayout" Target="../slideLayouts/slideLayout145.xml"/><Relationship Id="rId42" Type="http://schemas.openxmlformats.org/officeDocument/2006/relationships/slideLayout" Target="../slideLayouts/slideLayout153.xml"/><Relationship Id="rId47" Type="http://schemas.openxmlformats.org/officeDocument/2006/relationships/tags" Target="../tags/tag176.xml"/><Relationship Id="rId7" Type="http://schemas.openxmlformats.org/officeDocument/2006/relationships/slideLayout" Target="../slideLayouts/slideLayout11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29" Type="http://schemas.openxmlformats.org/officeDocument/2006/relationships/slideLayout" Target="../slideLayouts/slideLayout140.xml"/><Relationship Id="rId11" Type="http://schemas.openxmlformats.org/officeDocument/2006/relationships/slideLayout" Target="../slideLayouts/slideLayout122.xml"/><Relationship Id="rId24" Type="http://schemas.openxmlformats.org/officeDocument/2006/relationships/slideLayout" Target="../slideLayouts/slideLayout135.xml"/><Relationship Id="rId32" Type="http://schemas.openxmlformats.org/officeDocument/2006/relationships/slideLayout" Target="../slideLayouts/slideLayout143.xml"/><Relationship Id="rId37" Type="http://schemas.openxmlformats.org/officeDocument/2006/relationships/slideLayout" Target="../slideLayouts/slideLayout148.xml"/><Relationship Id="rId40" Type="http://schemas.openxmlformats.org/officeDocument/2006/relationships/slideLayout" Target="../slideLayouts/slideLayout151.xml"/><Relationship Id="rId45" Type="http://schemas.openxmlformats.org/officeDocument/2006/relationships/vmlDrawing" Target="../drawings/vmlDrawing107.v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23" Type="http://schemas.openxmlformats.org/officeDocument/2006/relationships/slideLayout" Target="../slideLayouts/slideLayout134.xml"/><Relationship Id="rId28" Type="http://schemas.openxmlformats.org/officeDocument/2006/relationships/slideLayout" Target="../slideLayouts/slideLayout139.xml"/><Relationship Id="rId36" Type="http://schemas.openxmlformats.org/officeDocument/2006/relationships/slideLayout" Target="../slideLayouts/slideLayout147.xml"/><Relationship Id="rId49" Type="http://schemas.openxmlformats.org/officeDocument/2006/relationships/image" Target="../media/image6.emf"/><Relationship Id="rId10" Type="http://schemas.openxmlformats.org/officeDocument/2006/relationships/slideLayout" Target="../slideLayouts/slideLayout121.xml"/><Relationship Id="rId19" Type="http://schemas.openxmlformats.org/officeDocument/2006/relationships/slideLayout" Target="../slideLayouts/slideLayout130.xml"/><Relationship Id="rId31" Type="http://schemas.openxmlformats.org/officeDocument/2006/relationships/slideLayout" Target="../slideLayouts/slideLayout142.xml"/><Relationship Id="rId44" Type="http://schemas.openxmlformats.org/officeDocument/2006/relationships/theme" Target="../theme/theme5.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 Id="rId22" Type="http://schemas.openxmlformats.org/officeDocument/2006/relationships/slideLayout" Target="../slideLayouts/slideLayout133.xml"/><Relationship Id="rId27" Type="http://schemas.openxmlformats.org/officeDocument/2006/relationships/slideLayout" Target="../slideLayouts/slideLayout138.xml"/><Relationship Id="rId30" Type="http://schemas.openxmlformats.org/officeDocument/2006/relationships/slideLayout" Target="../slideLayouts/slideLayout141.xml"/><Relationship Id="rId35" Type="http://schemas.openxmlformats.org/officeDocument/2006/relationships/slideLayout" Target="../slideLayouts/slideLayout146.xml"/><Relationship Id="rId43" Type="http://schemas.openxmlformats.org/officeDocument/2006/relationships/slideLayout" Target="../slideLayouts/slideLayout154.xml"/><Relationship Id="rId48" Type="http://schemas.openxmlformats.org/officeDocument/2006/relationships/oleObject" Target="../embeddings/oleObject107.bin"/><Relationship Id="rId8" Type="http://schemas.openxmlformats.org/officeDocument/2006/relationships/slideLayout" Target="../slideLayouts/slideLayout119.xml"/><Relationship Id="rId3" Type="http://schemas.openxmlformats.org/officeDocument/2006/relationships/slideLayout" Target="../slideLayouts/slideLayout114.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5" Type="http://schemas.openxmlformats.org/officeDocument/2006/relationships/slideLayout" Target="../slideLayouts/slideLayout136.xml"/><Relationship Id="rId33" Type="http://schemas.openxmlformats.org/officeDocument/2006/relationships/slideLayout" Target="../slideLayouts/slideLayout144.xml"/><Relationship Id="rId38" Type="http://schemas.openxmlformats.org/officeDocument/2006/relationships/slideLayout" Target="../slideLayouts/slideLayout149.xml"/><Relationship Id="rId46" Type="http://schemas.openxmlformats.org/officeDocument/2006/relationships/tags" Target="../tags/tag175.xml"/><Relationship Id="rId20" Type="http://schemas.openxmlformats.org/officeDocument/2006/relationships/slideLayout" Target="../slideLayouts/slideLayout131.xml"/><Relationship Id="rId41" Type="http://schemas.openxmlformats.org/officeDocument/2006/relationships/slideLayout" Target="../slideLayouts/slideLayout152.xml"/><Relationship Id="rId1" Type="http://schemas.openxmlformats.org/officeDocument/2006/relationships/slideLayout" Target="../slideLayouts/slideLayout112.xml"/><Relationship Id="rId6" Type="http://schemas.openxmlformats.org/officeDocument/2006/relationships/slideLayout" Target="../slideLayouts/slideLayout117.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theme" Target="../theme/theme6.xml"/><Relationship Id="rId1" Type="http://schemas.openxmlformats.org/officeDocument/2006/relationships/slideLayout" Target="../slideLayouts/slideLayout155.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57.xml"/><Relationship Id="rId1" Type="http://schemas.openxmlformats.org/officeDocument/2006/relationships/slideLayout" Target="../slideLayouts/slideLayout156.xml"/><Relationship Id="rId4" Type="http://schemas.openxmlformats.org/officeDocument/2006/relationships/image" Target="../media/image5.jpeg"/></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2" Type="http://schemas.openxmlformats.org/officeDocument/2006/relationships/slideLayout" Target="../slideLayouts/slideLayout159.xml"/><Relationship Id="rId1" Type="http://schemas.openxmlformats.org/officeDocument/2006/relationships/slideLayout" Target="../slideLayouts/slideLayout158.xml"/><Relationship Id="rId4" Type="http://schemas.openxmlformats.org/officeDocument/2006/relationships/image" Target="../media/image5.jpeg"/></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9.xml"/><Relationship Id="rId1" Type="http://schemas.openxmlformats.org/officeDocument/2006/relationships/slideLayout" Target="../slideLayouts/slideLayout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70013"/>
            <a:ext cx="7886700" cy="3267075"/>
          </a:xfrm>
          <a:prstGeom prst="rect">
            <a:avLst/>
          </a:prstGeom>
        </p:spPr>
        <p:txBody>
          <a:bodyPr vert="horz" lIns="91440" tIns="45720" rIns="91440" bIns="45720" rtlCol="0">
            <a:normAutofit/>
          </a:bodyPr>
          <a:lstStyle/>
          <a:p>
            <a:r>
              <a:rPr lang="en-AU" b="1">
                <a:solidFill>
                  <a:schemeClr val="bg2"/>
                </a:solidFill>
              </a:rPr>
              <a:t>Subtitle style  </a:t>
            </a:r>
            <a:r>
              <a:rPr lang="en-AU" b="1">
                <a:solidFill>
                  <a:srgbClr val="E9A913"/>
                </a:solidFill>
              </a:rPr>
              <a:t>|</a:t>
            </a:r>
            <a:r>
              <a:rPr lang="en-AU" b="1">
                <a:solidFill>
                  <a:schemeClr val="bg2"/>
                </a:solidFill>
              </a:rPr>
              <a:t>  et </a:t>
            </a:r>
            <a:r>
              <a:rPr lang="en-AU" b="1" err="1">
                <a:solidFill>
                  <a:schemeClr val="bg2"/>
                </a:solidFill>
              </a:rPr>
              <a:t>milliaea</a:t>
            </a:r>
            <a:r>
              <a:rPr lang="en-AU" b="1">
                <a:solidFill>
                  <a:schemeClr val="bg2"/>
                </a:solidFill>
              </a:rPr>
              <a:t> </a:t>
            </a:r>
            <a:r>
              <a:rPr lang="en-AU" b="1" err="1">
                <a:solidFill>
                  <a:schemeClr val="bg2"/>
                </a:solidFill>
              </a:rPr>
              <a:t>doluptatur</a:t>
            </a:r>
            <a:r>
              <a:rPr lang="en-AU" b="1">
                <a:solidFill>
                  <a:schemeClr val="bg2"/>
                </a:solidFill>
              </a:rPr>
              <a:t>  </a:t>
            </a:r>
            <a:r>
              <a:rPr lang="en-AU" b="1">
                <a:solidFill>
                  <a:srgbClr val="E9A913"/>
                </a:solidFill>
              </a:rPr>
              <a:t>|</a:t>
            </a:r>
            <a:r>
              <a:rPr lang="en-AU" b="1">
                <a:solidFill>
                  <a:schemeClr val="bg2"/>
                </a:solidFill>
              </a:rPr>
              <a:t>  as </a:t>
            </a:r>
            <a:r>
              <a:rPr lang="en-AU" b="1" err="1">
                <a:solidFill>
                  <a:schemeClr val="bg2"/>
                </a:solidFill>
              </a:rPr>
              <a:t>molupti</a:t>
            </a:r>
            <a:r>
              <a:rPr lang="en-AU" b="1">
                <a:solidFill>
                  <a:schemeClr val="bg2"/>
                </a:solidFill>
              </a:rPr>
              <a:t> </a:t>
            </a:r>
            <a:r>
              <a:rPr lang="en-AU" b="1" err="1">
                <a:solidFill>
                  <a:schemeClr val="bg2"/>
                </a:solidFill>
              </a:rPr>
              <a:t>oribus</a:t>
            </a:r>
            <a:endParaRPr lang="en-AU" b="1">
              <a:solidFill>
                <a:schemeClr val="bg2"/>
              </a:solidFill>
            </a:endParaRPr>
          </a:p>
        </p:txBody>
      </p:sp>
      <p:sp>
        <p:nvSpPr>
          <p:cNvPr id="4" name="Date Placeholder 3"/>
          <p:cNvSpPr>
            <a:spLocks noGrp="1"/>
          </p:cNvSpPr>
          <p:nvPr>
            <p:ph type="dt" sz="half" idx="2"/>
          </p:nvPr>
        </p:nvSpPr>
        <p:spPr>
          <a:xfrm>
            <a:off x="628650" y="4772025"/>
            <a:ext cx="2057400" cy="273050"/>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772025"/>
            <a:ext cx="3086100" cy="273050"/>
          </a:xfrm>
          <a:prstGeom prst="rect">
            <a:avLst/>
          </a:prstGeom>
        </p:spPr>
        <p:txBody>
          <a:bodyPr vert="horz" lIns="91440" tIns="45720" rIns="91440" bIns="45720" rtlCol="0" anchor="ctr"/>
          <a:lstStyle>
            <a:lvl1pPr algn="ctr">
              <a:defRPr sz="1200" b="1" i="0" u="none">
                <a:solidFill>
                  <a:srgbClr val="FF0000"/>
                </a:solidFill>
                <a:latin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6457950" y="4772025"/>
            <a:ext cx="2057400" cy="273050"/>
          </a:xfrm>
          <a:prstGeom prst="rect">
            <a:avLst/>
          </a:prstGeom>
        </p:spPr>
        <p:txBody>
          <a:bodyPr vert="horz" lIns="91440" tIns="45720" rIns="91440" bIns="45720" rtlCol="0" anchor="ctr"/>
          <a:lstStyle>
            <a:lvl1pPr algn="r">
              <a:defRPr sz="1200">
                <a:solidFill>
                  <a:schemeClr val="tx1">
                    <a:tint val="75000"/>
                  </a:schemeClr>
                </a:solidFill>
              </a:defRPr>
            </a:lvl1pPr>
          </a:lstStyle>
          <a:p>
            <a:fld id="{204BDF8A-F3AC-4977-BAC0-38A644132836}" type="slidenum">
              <a:rPr lang="en-US" smtClean="0"/>
              <a:t>‹#›</a:t>
            </a:fld>
            <a:endParaRPr lang="en-US"/>
          </a:p>
        </p:txBody>
      </p:sp>
      <p:sp>
        <p:nvSpPr>
          <p:cNvPr id="7" name="JS SlideHeader">
            <a:extLst>
              <a:ext uri="{FF2B5EF4-FFF2-40B4-BE49-F238E27FC236}">
                <a16:creationId xmlns:a16="http://schemas.microsoft.com/office/drawing/2014/main" id="{3AF9F17C-0948-4E97-8642-AEF60FCE9610}"/>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863241506"/>
      </p:ext>
    </p:extLst>
  </p:cSld>
  <p:clrMap bg1="lt1" tx1="dk1" bg2="lt2" tx2="dk2" accent1="accent1" accent2="accent2" accent3="accent3" accent4="accent4" accent5="accent5" accent6="accent6" hlink="hlink" folHlink="folHlink"/>
  <p:sldLayoutIdLst>
    <p:sldLayoutId id="2147483707" r:id="rId1"/>
    <p:sldLayoutId id="2147484306" r:id="rId2"/>
    <p:sldLayoutId id="2147484307" r:id="rId3"/>
    <p:sldLayoutId id="2147484309" r:id="rId4"/>
    <p:sldLayoutId id="2147484310" r:id="rId5"/>
    <p:sldLayoutId id="2147484311" r:id="rId6"/>
  </p:sldLayoutIdLst>
  <p:hf sldNum="0" hdr="0" ftr="0" dt="0"/>
  <p:txStyles>
    <p:titleStyle>
      <a:lvl1pPr algn="l" defTabSz="914400" rtl="0" eaLnBrk="1" latinLnBrk="0" hangingPunct="1">
        <a:lnSpc>
          <a:spcPct val="90000"/>
        </a:lnSpc>
        <a:spcBef>
          <a:spcPct val="0"/>
        </a:spcBef>
        <a:buNone/>
        <a:defRPr sz="2500" kern="1200">
          <a:solidFill>
            <a:schemeClr val="bg1"/>
          </a:solidFill>
          <a:latin typeface="+mn-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84C00C84-0FC0-4AA7-9140-2886E42EDCCE}"/>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3639050964"/>
      </p:ext>
    </p:extLst>
  </p:cSld>
  <p:clrMap bg1="lt1" tx1="dk1" bg2="lt2" tx2="dk2" accent1="accent1" accent2="accent2" accent3="accent3" accent4="accent4" accent5="accent5" accent6="accent6" hlink="hlink" folHlink="folHlink"/>
  <p:sldLayoutIdLst>
    <p:sldLayoutId id="2147483700" r:id="rId1"/>
    <p:sldLayoutId id="2147484303" r:id="rId2"/>
  </p:sldLayoutIdLst>
  <p:hf sldNum="0" hdr="0" ft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3"/>
            </p:custDataLst>
            <p:extLst>
              <p:ext uri="{D42A27DB-BD31-4B8C-83A1-F6EECF244321}">
                <p14:modId xmlns:p14="http://schemas.microsoft.com/office/powerpoint/2010/main" val="1711293857"/>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4535"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64"/>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608B3AA5-1502-45A0-BC0C-9ACE4D73E53A}"/>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3307448682"/>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58" r:id="rId53"/>
    <p:sldLayoutId id="2147483859" r:id="rId54"/>
    <p:sldLayoutId id="2147483860" r:id="rId55"/>
    <p:sldLayoutId id="2147483861" r:id="rId56"/>
    <p:sldLayoutId id="2147483862" r:id="rId57"/>
    <p:sldLayoutId id="2147483863" r:id="rId58"/>
    <p:sldLayoutId id="2147483864" r:id="rId59"/>
    <p:sldLayoutId id="2147483954" r:id="rId6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6"/>
            </p:custDataLst>
            <p:extLst>
              <p:ext uri="{D42A27DB-BD31-4B8C-83A1-F6EECF244321}">
                <p14:modId xmlns:p14="http://schemas.microsoft.com/office/powerpoint/2010/main" val="4282854837"/>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65975" name="think-cell Slide" r:id="rId48" imgW="270" imgH="270" progId="TCLayout.ActiveDocument.1">
                  <p:embed/>
                </p:oleObj>
              </mc:Choice>
              <mc:Fallback>
                <p:oleObj name="think-cell Slide" r:id="rId48" imgW="270" imgH="270" progId="TCLayout.ActiveDocument.1">
                  <p:embed/>
                  <p:pic>
                    <p:nvPicPr>
                      <p:cNvPr id="2" name="Object 1" hidden="1"/>
                      <p:cNvPicPr/>
                      <p:nvPr/>
                    </p:nvPicPr>
                    <p:blipFill>
                      <a:blip r:embed="rId49"/>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47"/>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283008E1-DAE0-4050-8C70-F775DAC83ACC}"/>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632834395"/>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 id="2147483877" r:id="rId12"/>
    <p:sldLayoutId id="2147483878" r:id="rId13"/>
    <p:sldLayoutId id="2147483879" r:id="rId14"/>
    <p:sldLayoutId id="2147483880" r:id="rId15"/>
    <p:sldLayoutId id="2147483881" r:id="rId16"/>
    <p:sldLayoutId id="2147483882" r:id="rId17"/>
    <p:sldLayoutId id="2147483883" r:id="rId18"/>
    <p:sldLayoutId id="2147483884" r:id="rId19"/>
    <p:sldLayoutId id="2147483885" r:id="rId20"/>
    <p:sldLayoutId id="2147483886" r:id="rId21"/>
    <p:sldLayoutId id="2147483887" r:id="rId22"/>
    <p:sldLayoutId id="2147483888" r:id="rId23"/>
    <p:sldLayoutId id="2147483889" r:id="rId24"/>
    <p:sldLayoutId id="2147483890" r:id="rId25"/>
    <p:sldLayoutId id="2147483891" r:id="rId26"/>
    <p:sldLayoutId id="2147483892" r:id="rId27"/>
    <p:sldLayoutId id="2147483893" r:id="rId28"/>
    <p:sldLayoutId id="2147483894" r:id="rId29"/>
    <p:sldLayoutId id="2147483895" r:id="rId30"/>
    <p:sldLayoutId id="2147483896" r:id="rId31"/>
    <p:sldLayoutId id="2147483897" r:id="rId32"/>
    <p:sldLayoutId id="2147483898" r:id="rId33"/>
    <p:sldLayoutId id="2147483899" r:id="rId34"/>
    <p:sldLayoutId id="2147483900" r:id="rId35"/>
    <p:sldLayoutId id="2147483901" r:id="rId36"/>
    <p:sldLayoutId id="2147483902" r:id="rId37"/>
    <p:sldLayoutId id="2147483903" r:id="rId38"/>
    <p:sldLayoutId id="2147483904" r:id="rId39"/>
    <p:sldLayoutId id="2147483905" r:id="rId40"/>
    <p:sldLayoutId id="2147483906" r:id="rId41"/>
    <p:sldLayoutId id="2147483907" r:id="rId42"/>
    <p:sldLayoutId id="2147483908" r:id="rId4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6"/>
            </p:custDataLst>
            <p:extLst>
              <p:ext uri="{D42A27DB-BD31-4B8C-83A1-F6EECF244321}">
                <p14:modId xmlns:p14="http://schemas.microsoft.com/office/powerpoint/2010/main" val="3952898711"/>
              </p:ext>
            </p:extLst>
          </p:nvPr>
        </p:nvGraphicFramePr>
        <p:xfrm>
          <a:off x="1192" y="1194"/>
          <a:ext cx="1190" cy="1191"/>
        </p:xfrm>
        <a:graphic>
          <a:graphicData uri="http://schemas.openxmlformats.org/presentationml/2006/ole">
            <mc:AlternateContent xmlns:mc="http://schemas.openxmlformats.org/markup-compatibility/2006">
              <mc:Choice xmlns:v="urn:schemas-microsoft-com:vml" Requires="v">
                <p:oleObj spid="_x0000_s110006" name="think-cell Slide" r:id="rId48" imgW="270" imgH="270" progId="TCLayout.ActiveDocument.1">
                  <p:embed/>
                </p:oleObj>
              </mc:Choice>
              <mc:Fallback>
                <p:oleObj name="think-cell Slide" r:id="rId48" imgW="270" imgH="270" progId="TCLayout.ActiveDocument.1">
                  <p:embed/>
                  <p:pic>
                    <p:nvPicPr>
                      <p:cNvPr id="2" name="Object 1" hidden="1"/>
                      <p:cNvPicPr/>
                      <p:nvPr/>
                    </p:nvPicPr>
                    <p:blipFill>
                      <a:blip r:embed="rId49"/>
                      <a:stretch>
                        <a:fillRect/>
                      </a:stretch>
                    </p:blipFill>
                    <p:spPr>
                      <a:xfrm>
                        <a:off x="1192" y="1194"/>
                        <a:ext cx="1190" cy="1191"/>
                      </a:xfrm>
                      <a:prstGeom prst="rect">
                        <a:avLst/>
                      </a:prstGeom>
                    </p:spPr>
                  </p:pic>
                </p:oleObj>
              </mc:Fallback>
            </mc:AlternateContent>
          </a:graphicData>
        </a:graphic>
      </p:graphicFrame>
      <p:sp>
        <p:nvSpPr>
          <p:cNvPr id="5" name="Rectangle 4" hidden="1"/>
          <p:cNvSpPr/>
          <p:nvPr userDrawn="1">
            <p:custDataLst>
              <p:tags r:id="rId47"/>
            </p:custDataLst>
          </p:nvPr>
        </p:nvSpPr>
        <p:spPr>
          <a:xfrm>
            <a:off x="2" y="1"/>
            <a:ext cx="119063" cy="119173"/>
          </a:xfrm>
          <a:prstGeom prst="rect">
            <a:avLst/>
          </a:prstGeom>
          <a:solidFill>
            <a:srgbClr val="002D3F"/>
          </a:solidFill>
          <a:ln w="9525" cap="rnd" cmpd="sng" algn="ctr">
            <a:solidFill>
              <a:srgbClr val="002D3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5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11" name="Date Placeholder 3"/>
          <p:cNvSpPr>
            <a:spLocks noGrp="1"/>
          </p:cNvSpPr>
          <p:nvPr>
            <p:ph type="dt" sz="half" idx="2"/>
          </p:nvPr>
        </p:nvSpPr>
        <p:spPr>
          <a:xfrm>
            <a:off x="7258051" y="4808225"/>
            <a:ext cx="1111538" cy="115523"/>
          </a:xfrm>
          <a:prstGeom prst="rect">
            <a:avLst/>
          </a:prstGeom>
        </p:spPr>
        <p:txBody>
          <a:bodyPr vert="horz" wrap="square" lIns="0" tIns="0" rIns="0" bIns="0" rtlCol="0" anchor="b">
            <a:spAutoFit/>
          </a:bodyPr>
          <a:lstStyle>
            <a:lvl1pPr algn="r">
              <a:defRPr sz="75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457200" y="349200"/>
            <a:ext cx="6364188" cy="993775"/>
          </a:xfrm>
          <a:prstGeom prst="rect">
            <a:avLst/>
          </a:prstGeom>
        </p:spPr>
        <p:txBody>
          <a:bodyPr vert="horz" wrap="square" lIns="0" tIns="0" rIns="0" bIns="0" rtlCol="0" anchor="ctr">
            <a:normAutofit/>
          </a:bodyPr>
          <a:lstStyle/>
          <a:p>
            <a:pPr marL="0" lvl="0" defTabSz="914400"/>
            <a:r>
              <a:rPr lang="en-US"/>
              <a:t>Click to add title</a:t>
            </a:r>
          </a:p>
        </p:txBody>
      </p:sp>
      <p:sp>
        <p:nvSpPr>
          <p:cNvPr id="4" name="Text Placeholder 3"/>
          <p:cNvSpPr>
            <a:spLocks noGrp="1"/>
          </p:cNvSpPr>
          <p:nvPr>
            <p:ph type="body" idx="1"/>
          </p:nvPr>
        </p:nvSpPr>
        <p:spPr>
          <a:xfrm>
            <a:off x="457201" y="1710000"/>
            <a:ext cx="8204454" cy="3024371"/>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3" name="JS SlideHeader">
            <a:extLst>
              <a:ext uri="{FF2B5EF4-FFF2-40B4-BE49-F238E27FC236}">
                <a16:creationId xmlns:a16="http://schemas.microsoft.com/office/drawing/2014/main" id="{CB8F781F-AA86-4B86-B76C-63ACE1A5582C}"/>
              </a:ext>
            </a:extLst>
          </p:cNvPr>
          <p:cNvSpPr txBox="1"/>
          <p:nvPr userDrawn="1"/>
        </p:nvSpPr>
        <p:spPr>
          <a:xfrm>
            <a:off x="914400" y="63500"/>
            <a:ext cx="7315200" cy="4572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024548592"/>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 id="2147484088" r:id="rId27"/>
    <p:sldLayoutId id="2147484089" r:id="rId28"/>
    <p:sldLayoutId id="2147484090" r:id="rId29"/>
    <p:sldLayoutId id="2147484091" r:id="rId30"/>
    <p:sldLayoutId id="2147484092" r:id="rId31"/>
    <p:sldLayoutId id="2147484093" r:id="rId32"/>
    <p:sldLayoutId id="2147484094" r:id="rId33"/>
    <p:sldLayoutId id="2147484095" r:id="rId34"/>
    <p:sldLayoutId id="2147484096" r:id="rId35"/>
    <p:sldLayoutId id="2147484097" r:id="rId36"/>
    <p:sldLayoutId id="2147484098" r:id="rId37"/>
    <p:sldLayoutId id="2147484099" r:id="rId38"/>
    <p:sldLayoutId id="2147484100" r:id="rId39"/>
    <p:sldLayoutId id="2147484101" r:id="rId40"/>
    <p:sldLayoutId id="2147484102" r:id="rId41"/>
    <p:sldLayoutId id="2147484103" r:id="rId42"/>
    <p:sldLayoutId id="2147484104" r:id="rId4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p:titleStyle>
    <p:body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4">
          <p15:clr>
            <a:srgbClr val="F26B43"/>
          </p15:clr>
        </p15:guide>
        <p15:guide id="2" pos="297">
          <p15:clr>
            <a:srgbClr val="F26B43"/>
          </p15:clr>
        </p15:guide>
        <p15:guide id="3" pos="5463">
          <p15:clr>
            <a:srgbClr val="F26B43"/>
          </p15:clr>
        </p15:guide>
        <p15:guide id="4" orient="horz" pos="291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B45CD868-E27F-4317-A1E6-404F934BE089}"/>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811635271"/>
      </p:ext>
    </p:extLst>
  </p:cSld>
  <p:clrMap bg1="lt1" tx1="dk1" bg2="lt2" tx2="dk2" accent1="accent1" accent2="accent2" accent3="accent3" accent4="accent4" accent5="accent5" accent6="accent6" hlink="hlink" folHlink="folHlink"/>
  <p:sldLayoutIdLst>
    <p:sldLayoutId id="2147484291" r:id="rId1"/>
  </p:sldLayoutIdLst>
  <p:hf sldNum="0" hdr="0" ft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C7AA0945-3000-489B-8025-D9B6206A518B}"/>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460018660"/>
      </p:ext>
    </p:extLst>
  </p:cSld>
  <p:clrMap bg1="lt1" tx1="dk1" bg2="lt2" tx2="dk2" accent1="accent1" accent2="accent2" accent3="accent3" accent4="accent4" accent5="accent5" accent6="accent6" hlink="hlink" folHlink="folHlink"/>
  <p:sldLayoutIdLst>
    <p:sldLayoutId id="2147484293" r:id="rId1"/>
    <p:sldLayoutId id="2147484294" r:id="rId2"/>
  </p:sldLayoutIdLst>
  <p:hf sldNum="0" hdr="0" ft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0"/>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C7AA0945-3000-489B-8025-D9B6206A518B}"/>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2394034420"/>
      </p:ext>
    </p:extLst>
  </p:cSld>
  <p:clrMap bg1="lt1" tx1="dk1" bg2="lt2" tx2="dk2" accent1="accent1" accent2="accent2" accent3="accent3" accent4="accent4" accent5="accent5" accent6="accent6" hlink="hlink" folHlink="folHlink"/>
  <p:sldLayoutIdLst>
    <p:sldLayoutId id="2147484296" r:id="rId1"/>
    <p:sldLayoutId id="2147484297" r:id="rId2"/>
  </p:sldLayoutIdLst>
  <p:hf sldNum="0" hdr="0" ftr="0" dt="0"/>
  <p:txStyles>
    <p:titleStyle>
      <a:lvl1pPr algn="l" defTabSz="914400" rtl="0" eaLnBrk="1" latinLnBrk="0" hangingPunct="1">
        <a:lnSpc>
          <a:spcPct val="90000"/>
        </a:lnSpc>
        <a:spcBef>
          <a:spcPct val="0"/>
        </a:spcBef>
        <a:buNone/>
        <a:defRPr sz="2500" kern="1200">
          <a:solidFill>
            <a:srgbClr val="002D3F"/>
          </a:solidFill>
          <a:latin typeface="+mn-lt"/>
          <a:ea typeface="+mj-ea"/>
          <a:cs typeface="+mj-cs"/>
        </a:defRPr>
      </a:lvl1pPr>
    </p:titleStyle>
    <p:bodyStyle>
      <a:lvl1pPr marL="230400" indent="-2304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49201"/>
            <a:ext cx="6579900" cy="993775"/>
          </a:xfrm>
          <a:prstGeom prst="rect">
            <a:avLst/>
          </a:prstGeom>
        </p:spPr>
        <p:txBody>
          <a:bodyPr vert="horz" lIns="0" tIns="0" rIns="0" bIns="0" rtlCol="0" anchor="ctr">
            <a:normAutofit/>
          </a:bodyPr>
          <a:lstStyle/>
          <a:p>
            <a:r>
              <a:rPr lang="en-US"/>
              <a:t>Click to edit Master title style</a:t>
            </a:r>
            <a:endParaRPr lang="en-AU"/>
          </a:p>
        </p:txBody>
      </p:sp>
      <p:sp>
        <p:nvSpPr>
          <p:cNvPr id="3" name="Text Placeholder 2"/>
          <p:cNvSpPr>
            <a:spLocks noGrp="1"/>
          </p:cNvSpPr>
          <p:nvPr>
            <p:ph type="body" idx="1"/>
          </p:nvPr>
        </p:nvSpPr>
        <p:spPr>
          <a:xfrm>
            <a:off x="457200" y="1710000"/>
            <a:ext cx="7886700" cy="302437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JS SlideHeader">
            <a:extLst>
              <a:ext uri="{FF2B5EF4-FFF2-40B4-BE49-F238E27FC236}">
                <a16:creationId xmlns:a16="http://schemas.microsoft.com/office/drawing/2014/main" id="{C7AA0945-3000-489B-8025-D9B6206A518B}"/>
              </a:ext>
            </a:extLst>
          </p:cNvPr>
          <p:cNvSpPr txBox="1"/>
          <p:nvPr userDrawn="1"/>
        </p:nvSpPr>
        <p:spPr>
          <a:xfrm>
            <a:off x="914400" y="63500"/>
            <a:ext cx="7315200" cy="276999"/>
          </a:xfrm>
          <a:prstGeom prst="rect">
            <a:avLst/>
          </a:prstGeom>
          <a:noFill/>
        </p:spPr>
        <p:txBody>
          <a:bodyPr vert="horz" rtlCol="0">
            <a:spAutoFit/>
          </a:bodyPr>
          <a:lstStyle/>
          <a:p>
            <a:pPr algn="ctr"/>
            <a:endParaRPr lang="en-AU" sz="1200" b="1" i="0" u="none">
              <a:solidFill>
                <a:srgbClr val="FF0000"/>
              </a:solidFill>
              <a:latin typeface="Arial" panose="020B0604020202020204" pitchFamily="34" charset="0"/>
            </a:endParaRPr>
          </a:p>
        </p:txBody>
      </p:sp>
    </p:spTree>
    <p:extLst>
      <p:ext uri="{BB962C8B-B14F-4D97-AF65-F5344CB8AC3E}">
        <p14:creationId xmlns:p14="http://schemas.microsoft.com/office/powerpoint/2010/main" val="1154740556"/>
      </p:ext>
    </p:extLst>
  </p:cSld>
  <p:clrMap bg1="lt1" tx1="dk1" bg2="lt2" tx2="dk2" accent1="accent1" accent2="accent2" accent3="accent3" accent4="accent4" accent5="accent5" accent6="accent6" hlink="hlink" folHlink="folHlink"/>
  <p:sldLayoutIdLst>
    <p:sldLayoutId id="2147484299" r:id="rId1"/>
  </p:sldLayoutIdLst>
  <p:hf sldNum="0" hdr="0" ftr="0" dt="0"/>
  <p:txStyles>
    <p:titleStyle>
      <a:lvl1pPr algn="l" defTabSz="913554" rtl="0" eaLnBrk="1" latinLnBrk="0" hangingPunct="1">
        <a:lnSpc>
          <a:spcPct val="90000"/>
        </a:lnSpc>
        <a:spcBef>
          <a:spcPct val="0"/>
        </a:spcBef>
        <a:buNone/>
        <a:defRPr sz="2475" kern="1200">
          <a:solidFill>
            <a:srgbClr val="002D3F"/>
          </a:solidFill>
          <a:latin typeface="+mn-lt"/>
          <a:ea typeface="+mj-ea"/>
          <a:cs typeface="+mj-cs"/>
        </a:defRPr>
      </a:lvl1pPr>
    </p:titleStyle>
    <p:bodyStyle>
      <a:lvl1pPr marL="230187" indent="-230187" algn="l" defTabSz="913554" rtl="0" eaLnBrk="1" latinLnBrk="0" hangingPunct="1">
        <a:lnSpc>
          <a:spcPct val="90000"/>
        </a:lnSpc>
        <a:spcBef>
          <a:spcPts val="999"/>
        </a:spcBef>
        <a:buFont typeface="Arial" panose="020B0604020202020204" pitchFamily="34" charset="0"/>
        <a:buChar char="•"/>
        <a:defRPr sz="2025" kern="1200">
          <a:solidFill>
            <a:schemeClr val="tx1"/>
          </a:solidFill>
          <a:latin typeface="+mn-lt"/>
          <a:ea typeface="+mn-ea"/>
          <a:cs typeface="+mn-cs"/>
        </a:defRPr>
      </a:lvl1pPr>
      <a:lvl2pPr marL="685166"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1943" indent="-228389" algn="l" defTabSz="913554" rtl="0" eaLnBrk="1" latinLnBrk="0" hangingPunct="1">
        <a:lnSpc>
          <a:spcPct val="90000"/>
        </a:lnSpc>
        <a:spcBef>
          <a:spcPts val="500"/>
        </a:spcBef>
        <a:buFont typeface="Arial" panose="020B0604020202020204" pitchFamily="34" charset="0"/>
        <a:buChar char="•"/>
        <a:defRPr sz="1575" kern="1200">
          <a:solidFill>
            <a:schemeClr val="tx1"/>
          </a:solidFill>
          <a:latin typeface="+mn-lt"/>
          <a:ea typeface="+mn-ea"/>
          <a:cs typeface="+mn-cs"/>
        </a:defRPr>
      </a:lvl3pPr>
      <a:lvl4pPr marL="1598720" indent="-228389" algn="l" defTabSz="913554" rtl="0" eaLnBrk="1" latinLnBrk="0" hangingPunct="1">
        <a:lnSpc>
          <a:spcPct val="90000"/>
        </a:lnSpc>
        <a:spcBef>
          <a:spcPts val="500"/>
        </a:spcBef>
        <a:buFont typeface="Arial" panose="020B0604020202020204" pitchFamily="34" charset="0"/>
        <a:buChar char="•"/>
        <a:defRPr sz="1425" kern="1200">
          <a:solidFill>
            <a:schemeClr val="tx1"/>
          </a:solidFill>
          <a:latin typeface="+mn-lt"/>
          <a:ea typeface="+mn-ea"/>
          <a:cs typeface="+mn-cs"/>
        </a:defRPr>
      </a:lvl4pPr>
      <a:lvl5pPr marL="2055497" indent="-228389" algn="l" defTabSz="913554" rtl="0" eaLnBrk="1" latinLnBrk="0" hangingPunct="1">
        <a:lnSpc>
          <a:spcPct val="90000"/>
        </a:lnSpc>
        <a:spcBef>
          <a:spcPts val="500"/>
        </a:spcBef>
        <a:buFont typeface="Arial" panose="020B0604020202020204" pitchFamily="34" charset="0"/>
        <a:buChar char="•"/>
        <a:defRPr sz="1425" kern="1200">
          <a:solidFill>
            <a:schemeClr val="tx1"/>
          </a:solidFill>
          <a:latin typeface="+mn-lt"/>
          <a:ea typeface="+mn-ea"/>
          <a:cs typeface="+mn-cs"/>
        </a:defRPr>
      </a:lvl5pPr>
      <a:lvl6pPr marL="2512274"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9051"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5828"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2605" indent="-228389" algn="l" defTabSz="9135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3554" rtl="0" eaLnBrk="1" latinLnBrk="0" hangingPunct="1">
        <a:defRPr sz="1800" kern="1200">
          <a:solidFill>
            <a:schemeClr val="tx1"/>
          </a:solidFill>
          <a:latin typeface="+mn-lt"/>
          <a:ea typeface="+mn-ea"/>
          <a:cs typeface="+mn-cs"/>
        </a:defRPr>
      </a:lvl1pPr>
      <a:lvl2pPr marL="456777" algn="l" defTabSz="913554" rtl="0" eaLnBrk="1" latinLnBrk="0" hangingPunct="1">
        <a:defRPr sz="1800" kern="1200">
          <a:solidFill>
            <a:schemeClr val="tx1"/>
          </a:solidFill>
          <a:latin typeface="+mn-lt"/>
          <a:ea typeface="+mn-ea"/>
          <a:cs typeface="+mn-cs"/>
        </a:defRPr>
      </a:lvl2pPr>
      <a:lvl3pPr marL="913554" algn="l" defTabSz="913554" rtl="0" eaLnBrk="1" latinLnBrk="0" hangingPunct="1">
        <a:defRPr sz="1800" kern="1200">
          <a:solidFill>
            <a:schemeClr val="tx1"/>
          </a:solidFill>
          <a:latin typeface="+mn-lt"/>
          <a:ea typeface="+mn-ea"/>
          <a:cs typeface="+mn-cs"/>
        </a:defRPr>
      </a:lvl3pPr>
      <a:lvl4pPr marL="1370331" algn="l" defTabSz="913554" rtl="0" eaLnBrk="1" latinLnBrk="0" hangingPunct="1">
        <a:defRPr sz="1800" kern="1200">
          <a:solidFill>
            <a:schemeClr val="tx1"/>
          </a:solidFill>
          <a:latin typeface="+mn-lt"/>
          <a:ea typeface="+mn-ea"/>
          <a:cs typeface="+mn-cs"/>
        </a:defRPr>
      </a:lvl4pPr>
      <a:lvl5pPr marL="1827108" algn="l" defTabSz="913554" rtl="0" eaLnBrk="1" latinLnBrk="0" hangingPunct="1">
        <a:defRPr sz="1800" kern="1200">
          <a:solidFill>
            <a:schemeClr val="tx1"/>
          </a:solidFill>
          <a:latin typeface="+mn-lt"/>
          <a:ea typeface="+mn-ea"/>
          <a:cs typeface="+mn-cs"/>
        </a:defRPr>
      </a:lvl5pPr>
      <a:lvl6pPr marL="2283886" algn="l" defTabSz="913554" rtl="0" eaLnBrk="1" latinLnBrk="0" hangingPunct="1">
        <a:defRPr sz="1800" kern="1200">
          <a:solidFill>
            <a:schemeClr val="tx1"/>
          </a:solidFill>
          <a:latin typeface="+mn-lt"/>
          <a:ea typeface="+mn-ea"/>
          <a:cs typeface="+mn-cs"/>
        </a:defRPr>
      </a:lvl6pPr>
      <a:lvl7pPr marL="2740663" algn="l" defTabSz="913554" rtl="0" eaLnBrk="1" latinLnBrk="0" hangingPunct="1">
        <a:defRPr sz="1800" kern="1200">
          <a:solidFill>
            <a:schemeClr val="tx1"/>
          </a:solidFill>
          <a:latin typeface="+mn-lt"/>
          <a:ea typeface="+mn-ea"/>
          <a:cs typeface="+mn-cs"/>
        </a:defRPr>
      </a:lvl7pPr>
      <a:lvl8pPr marL="3197440" algn="l" defTabSz="913554" rtl="0" eaLnBrk="1" latinLnBrk="0" hangingPunct="1">
        <a:defRPr sz="1800" kern="1200">
          <a:solidFill>
            <a:schemeClr val="tx1"/>
          </a:solidFill>
          <a:latin typeface="+mn-lt"/>
          <a:ea typeface="+mn-ea"/>
          <a:cs typeface="+mn-cs"/>
        </a:defRPr>
      </a:lvl8pPr>
      <a:lvl9pPr marL="3654217" algn="l" defTabSz="9135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20.svg"/><Relationship Id="rId9" Type="http://schemas.openxmlformats.org/officeDocument/2006/relationships/image" Target="../media/image2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38.sv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6.svg"/><Relationship Id="rId5" Type="http://schemas.openxmlformats.org/officeDocument/2006/relationships/image" Target="../media/image35.png"/><Relationship Id="rId10" Type="http://schemas.openxmlformats.org/officeDocument/2006/relationships/image" Target="../media/image40.svg"/><Relationship Id="rId4" Type="http://schemas.openxmlformats.org/officeDocument/2006/relationships/image" Target="../media/image34.svg"/><Relationship Id="rId9"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2.svg"/></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42.sv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42.svg"/></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4.svg"/></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47.svg"/></Relationships>
</file>

<file path=ppt/slides/_rels/slide2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49.png"/></Relationships>
</file>

<file path=ppt/slides/_rels/slide23.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image" Target="../media/image50.png"/><Relationship Id="rId7" Type="http://schemas.openxmlformats.org/officeDocument/2006/relationships/image" Target="../media/image54.png"/><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image" Target="../media/image53.svg"/><Relationship Id="rId5" Type="http://schemas.openxmlformats.org/officeDocument/2006/relationships/image" Target="../media/image52.png"/><Relationship Id="rId4" Type="http://schemas.openxmlformats.org/officeDocument/2006/relationships/image" Target="../media/image51.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97.xml"/><Relationship Id="rId4" Type="http://schemas.openxmlformats.org/officeDocument/2006/relationships/image" Target="../media/image18.sv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19A156-AFEB-4D31-B2A5-AD45B0A01C68}"/>
              </a:ext>
            </a:extLst>
          </p:cNvPr>
          <p:cNvSpPr>
            <a:spLocks noGrp="1"/>
          </p:cNvSpPr>
          <p:nvPr>
            <p:ph type="ctrTitle"/>
          </p:nvPr>
        </p:nvSpPr>
        <p:spPr/>
        <p:txBody>
          <a:bodyPr>
            <a:normAutofit/>
          </a:bodyPr>
          <a:lstStyle/>
          <a:p>
            <a:r>
              <a:rPr lang="en-AU" sz="2800" dirty="0">
                <a:latin typeface="Arial Nova" panose="020B0504020202020204" pitchFamily="34" charset="0"/>
              </a:rPr>
              <a:t>NESA National Conference</a:t>
            </a:r>
          </a:p>
        </p:txBody>
      </p:sp>
      <p:sp>
        <p:nvSpPr>
          <p:cNvPr id="3" name="Subtitle 2">
            <a:extLst>
              <a:ext uri="{FF2B5EF4-FFF2-40B4-BE49-F238E27FC236}">
                <a16:creationId xmlns:a16="http://schemas.microsoft.com/office/drawing/2014/main" id="{D0F681E3-ED9B-4324-9D73-7185D8752B6E}"/>
              </a:ext>
            </a:extLst>
          </p:cNvPr>
          <p:cNvSpPr>
            <a:spLocks noGrp="1"/>
          </p:cNvSpPr>
          <p:nvPr>
            <p:ph type="subTitle" idx="1"/>
          </p:nvPr>
        </p:nvSpPr>
        <p:spPr/>
        <p:txBody>
          <a:bodyPr>
            <a:noAutofit/>
          </a:bodyPr>
          <a:lstStyle/>
          <a:p>
            <a:pPr>
              <a:spcBef>
                <a:spcPts val="600"/>
              </a:spcBef>
            </a:pPr>
            <a:r>
              <a:rPr lang="en-AU" sz="1600" dirty="0">
                <a:latin typeface="Arial Nova Cond" panose="020B0506020202020204" pitchFamily="34" charset="0"/>
              </a:rPr>
              <a:t>The New Employment Services Trial and the OES – the DESE and Provider Experience</a:t>
            </a:r>
          </a:p>
        </p:txBody>
      </p:sp>
      <p:sp>
        <p:nvSpPr>
          <p:cNvPr id="4" name="Subtitle 2">
            <a:extLst>
              <a:ext uri="{FF2B5EF4-FFF2-40B4-BE49-F238E27FC236}">
                <a16:creationId xmlns:a16="http://schemas.microsoft.com/office/drawing/2014/main" id="{BCA506AD-EA00-4FAF-8DC1-0D839172517C}"/>
              </a:ext>
            </a:extLst>
          </p:cNvPr>
          <p:cNvSpPr txBox="1">
            <a:spLocks/>
          </p:cNvSpPr>
          <p:nvPr/>
        </p:nvSpPr>
        <p:spPr>
          <a:xfrm>
            <a:off x="864000" y="3487951"/>
            <a:ext cx="6858000" cy="287966"/>
          </a:xfrm>
          <a:prstGeom prst="rect">
            <a:avLst/>
          </a:prstGeom>
        </p:spPr>
        <p:txBody>
          <a:bodyPr vert="horz" lIns="0" tIns="0" rIns="0" bIns="0" rtlCol="0">
            <a:normAutofit/>
          </a:bodyPr>
          <a:lstStyle>
            <a:lvl1pPr marL="0" indent="0" algn="l" defTabSz="685783" rtl="0" eaLnBrk="1" latinLnBrk="0" hangingPunct="1">
              <a:lnSpc>
                <a:spcPct val="110000"/>
              </a:lnSpc>
              <a:spcBef>
                <a:spcPts val="450"/>
              </a:spcBef>
              <a:spcAft>
                <a:spcPts val="225"/>
              </a:spcAft>
              <a:buClr>
                <a:srgbClr val="002D3F"/>
              </a:buClr>
              <a:buFont typeface="Arial" panose="020B0604020202020204" pitchFamily="34" charset="0"/>
              <a:buChar char="​"/>
              <a:defRPr kumimoji="0" lang="en-AU" sz="1800" b="1" i="0" u="none" strike="noStrike" kern="1200" cap="none" spc="0" normalizeH="0" baseline="0" dirty="0">
                <a:ln>
                  <a:noFill/>
                </a:ln>
                <a:solidFill>
                  <a:srgbClr val="E7E6E6"/>
                </a:solidFill>
                <a:effectLst/>
                <a:uLnTx/>
                <a:uFillTx/>
                <a:latin typeface="+mn-lt"/>
                <a:ea typeface="+mn-ea"/>
                <a:cs typeface="+mn-cs"/>
                <a:sym typeface="+mn-lt"/>
              </a:defRPr>
            </a:lvl1pPr>
            <a:lvl2pPr marL="213295" indent="-129597" algn="l" defTabSz="685783" rtl="0" eaLnBrk="1" latinLnBrk="0" hangingPunct="1">
              <a:lnSpc>
                <a:spcPct val="90000"/>
              </a:lnSpc>
              <a:spcBef>
                <a:spcPts val="0"/>
              </a:spcBef>
              <a:spcAft>
                <a:spcPts val="225"/>
              </a:spcAft>
              <a:buClr>
                <a:srgbClr val="002D3F"/>
              </a:buClr>
              <a:buFont typeface="Arial" panose="020B0604020202020204" pitchFamily="34" charset="0"/>
              <a:buChar char="•"/>
              <a:defRPr lang="en-US" sz="900" kern="1200">
                <a:solidFill>
                  <a:srgbClr val="000000"/>
                </a:solidFill>
                <a:latin typeface="+mn-lt"/>
                <a:ea typeface="+mn-ea"/>
                <a:cs typeface="+mn-cs"/>
                <a:sym typeface="+mn-lt"/>
              </a:defRPr>
            </a:lvl2pPr>
            <a:lvl3pPr marL="383390" indent="-124197" algn="l" defTabSz="685783" rtl="0" eaLnBrk="1" latinLnBrk="0" hangingPunct="1">
              <a:lnSpc>
                <a:spcPct val="90000"/>
              </a:lnSpc>
              <a:spcBef>
                <a:spcPts val="0"/>
              </a:spcBef>
              <a:spcAft>
                <a:spcPts val="225"/>
              </a:spcAft>
              <a:buClr>
                <a:srgbClr val="002D3F"/>
              </a:buClr>
              <a:buFont typeface="Trebuchet MS" panose="020B0603020202020204" pitchFamily="34" charset="0"/>
              <a:buChar char="–"/>
              <a:defRPr lang="en-US" sz="900" kern="1200">
                <a:solidFill>
                  <a:srgbClr val="000000"/>
                </a:solidFill>
                <a:latin typeface="+mn-lt"/>
                <a:ea typeface="+mn-ea"/>
                <a:cs typeface="+mn-cs"/>
                <a:sym typeface="+mn-lt"/>
              </a:defRPr>
            </a:lvl3pPr>
            <a:lvl4pPr marL="0" indent="0" algn="l" defTabSz="685783" rtl="0" eaLnBrk="1" latinLnBrk="0" hangingPunct="1">
              <a:lnSpc>
                <a:spcPct val="110000"/>
              </a:lnSpc>
              <a:spcBef>
                <a:spcPts val="225"/>
              </a:spcBef>
              <a:spcAft>
                <a:spcPts val="225"/>
              </a:spcAft>
              <a:buClr>
                <a:srgbClr val="002D3F"/>
              </a:buClr>
              <a:buFont typeface="Arial" panose="020B0604020202020204" pitchFamily="34" charset="0"/>
              <a:buChar char="​"/>
              <a:defRPr lang="en-US" sz="1200" kern="1200">
                <a:solidFill>
                  <a:srgbClr val="002D3F"/>
                </a:solidFill>
                <a:latin typeface="+mn-lt"/>
                <a:ea typeface="+mn-ea"/>
                <a:cs typeface="+mn-cs"/>
                <a:sym typeface="+mn-lt"/>
              </a:defRPr>
            </a:lvl4pPr>
            <a:lvl5pPr marL="0" indent="0" algn="l" defTabSz="685783" rtl="0" eaLnBrk="1" latinLnBrk="0" hangingPunct="1">
              <a:lnSpc>
                <a:spcPct val="100000"/>
              </a:lnSpc>
              <a:spcBef>
                <a:spcPts val="0"/>
              </a:spcBef>
              <a:spcAft>
                <a:spcPts val="225"/>
              </a:spcAft>
              <a:buClr>
                <a:srgbClr val="002D3F"/>
              </a:buClr>
              <a:buFont typeface="Arial" panose="020B0604020202020204" pitchFamily="34" charset="0"/>
              <a:buChar char="​"/>
              <a:defRPr lang="en-US" sz="1200" b="1" kern="1200" smtClean="0">
                <a:solidFill>
                  <a:srgbClr val="000000"/>
                </a:solidFill>
                <a:latin typeface="+mn-lt"/>
                <a:ea typeface="+mn-ea"/>
                <a:cs typeface="+mn-cs"/>
                <a:sym typeface="+mn-lt"/>
              </a:defRPr>
            </a:lvl5pPr>
            <a:lvl6pPr marL="202401" indent="-114297" algn="l" defTabSz="685783" rtl="0" eaLnBrk="1" latinLnBrk="0" hangingPunct="1">
              <a:lnSpc>
                <a:spcPct val="90000"/>
              </a:lnSpc>
              <a:spcBef>
                <a:spcPts val="0"/>
              </a:spcBef>
              <a:spcAft>
                <a:spcPts val="450"/>
              </a:spcAft>
              <a:buClr>
                <a:srgbClr val="002D3F"/>
              </a:buClr>
              <a:buFont typeface="Arial" panose="020B0604020202020204" pitchFamily="34" charset="0"/>
              <a:buChar char="•"/>
              <a:defRPr lang="en-US" sz="1200" kern="1200" smtClean="0">
                <a:solidFill>
                  <a:srgbClr val="000000"/>
                </a:solidFill>
                <a:latin typeface="+mn-lt"/>
                <a:ea typeface="+mn-ea"/>
                <a:cs typeface="+mn-cs"/>
                <a:sym typeface="+mn-lt"/>
              </a:defRPr>
            </a:lvl6pPr>
            <a:lvl7pPr marL="0" indent="0" algn="l" defTabSz="685783" rtl="0" eaLnBrk="1" latinLnBrk="0" hangingPunct="1">
              <a:lnSpc>
                <a:spcPct val="90000"/>
              </a:lnSpc>
              <a:spcBef>
                <a:spcPts val="675"/>
              </a:spcBef>
              <a:spcAft>
                <a:spcPts val="675"/>
              </a:spcAft>
              <a:buClr>
                <a:srgbClr val="002D3F"/>
              </a:buClr>
              <a:buFont typeface="Arial" panose="020B0604020202020204" pitchFamily="34" charset="0"/>
              <a:buChar char="​"/>
              <a:defRPr lang="en-US" sz="3300" kern="1200" baseline="0" smtClean="0">
                <a:solidFill>
                  <a:srgbClr val="000000"/>
                </a:solidFill>
                <a:latin typeface="+mn-lt"/>
                <a:ea typeface="+mn-ea"/>
                <a:cs typeface="+mn-cs"/>
                <a:sym typeface="+mn-lt"/>
              </a:defRPr>
            </a:lvl7pPr>
            <a:lvl8pPr marL="0" indent="0" algn="l" defTabSz="685783" rtl="0" eaLnBrk="1" latinLnBrk="0" hangingPunct="1">
              <a:lnSpc>
                <a:spcPct val="90000"/>
              </a:lnSpc>
              <a:spcBef>
                <a:spcPts val="675"/>
              </a:spcBef>
              <a:spcAft>
                <a:spcPts val="0"/>
              </a:spcAft>
              <a:buClr>
                <a:srgbClr val="002D3F"/>
              </a:buClr>
              <a:buFont typeface="Arial" panose="020B0604020202020204" pitchFamily="34" charset="0"/>
              <a:buChar char="​"/>
              <a:defRPr lang="en-US" sz="4050" kern="1200" baseline="0" smtClean="0">
                <a:solidFill>
                  <a:srgbClr val="002D3F"/>
                </a:solidFill>
                <a:latin typeface="+mn-lt"/>
                <a:ea typeface="+mn-ea"/>
                <a:cs typeface="+mn-cs"/>
                <a:sym typeface="+mn-lt"/>
              </a:defRPr>
            </a:lvl8pPr>
            <a:lvl9pPr marL="0" indent="0" algn="l" defTabSz="685783" rtl="0" eaLnBrk="1" latinLnBrk="0" hangingPunct="1">
              <a:lnSpc>
                <a:spcPct val="100000"/>
              </a:lnSpc>
              <a:spcBef>
                <a:spcPts val="0"/>
              </a:spcBef>
              <a:spcAft>
                <a:spcPts val="675"/>
              </a:spcAft>
              <a:buClr>
                <a:srgbClr val="002D3F"/>
              </a:buClr>
              <a:buFont typeface="Arial" panose="020B0604020202020204" pitchFamily="34" charset="0"/>
              <a:buChar char="​"/>
              <a:defRPr lang="en-US" sz="1800" kern="1200" baseline="0" dirty="0">
                <a:solidFill>
                  <a:srgbClr val="002D3F"/>
                </a:solidFill>
                <a:latin typeface="+mn-lt"/>
                <a:ea typeface="+mn-ea"/>
                <a:cs typeface="+mn-cs"/>
                <a:sym typeface="+mn-lt"/>
              </a:defRPr>
            </a:lvl9pPr>
          </a:lstStyle>
          <a:p>
            <a:r>
              <a:rPr lang="en-AU" sz="1200" dirty="0">
                <a:latin typeface="Arial Nova Cond" panose="020B0506020202020204" pitchFamily="34" charset="0"/>
              </a:rPr>
              <a:t>Tuesday 8 June, 2.15–3.00</a:t>
            </a:r>
          </a:p>
          <a:p>
            <a:endParaRPr lang="en-AU" sz="1050" b="0" i="1" dirty="0">
              <a:latin typeface="Arial Nova Cond" panose="020B0506020202020204" pitchFamily="34" charset="0"/>
            </a:endParaRPr>
          </a:p>
          <a:p>
            <a:endParaRPr lang="en-AU" sz="1200" dirty="0">
              <a:latin typeface="Arial Nova Cond" panose="020B0506020202020204" pitchFamily="34" charset="0"/>
            </a:endParaRPr>
          </a:p>
        </p:txBody>
      </p:sp>
    </p:spTree>
    <p:extLst>
      <p:ext uri="{BB962C8B-B14F-4D97-AF65-F5344CB8AC3E}">
        <p14:creationId xmlns:p14="http://schemas.microsoft.com/office/powerpoint/2010/main" val="223016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valuation Key Findings – OEST feedback  challenges</a:t>
            </a:r>
          </a:p>
        </p:txBody>
      </p:sp>
      <p:sp>
        <p:nvSpPr>
          <p:cNvPr id="3" name="Text Placeholder 2">
            <a:extLst>
              <a:ext uri="{FF2B5EF4-FFF2-40B4-BE49-F238E27FC236}">
                <a16:creationId xmlns:a16="http://schemas.microsoft.com/office/drawing/2014/main" id="{A57BC495-4F2C-4C25-9AB2-51831F8C348F}"/>
              </a:ext>
            </a:extLst>
          </p:cNvPr>
          <p:cNvSpPr>
            <a:spLocks noGrp="1"/>
          </p:cNvSpPr>
          <p:nvPr>
            <p:ph type="body" sz="quarter" idx="10"/>
          </p:nvPr>
        </p:nvSpPr>
        <p:spPr/>
        <p:txBody>
          <a:bodyPr/>
          <a:lstStyle/>
          <a:p>
            <a:r>
              <a:rPr lang="en-AU" dirty="0"/>
              <a:t>Preference for face-to-face servicing is most common reason for opting out.</a:t>
            </a:r>
          </a:p>
          <a:p>
            <a:endParaRPr lang="en-AU" dirty="0"/>
          </a:p>
        </p:txBody>
      </p:sp>
      <p:sp>
        <p:nvSpPr>
          <p:cNvPr id="6" name="Text Placeholder 5">
            <a:extLst>
              <a:ext uri="{FF2B5EF4-FFF2-40B4-BE49-F238E27FC236}">
                <a16:creationId xmlns:a16="http://schemas.microsoft.com/office/drawing/2014/main" id="{38A5FFC7-E20A-4E41-8EFB-38F813EC59C7}"/>
              </a:ext>
            </a:extLst>
          </p:cNvPr>
          <p:cNvSpPr>
            <a:spLocks noGrp="1"/>
          </p:cNvSpPr>
          <p:nvPr>
            <p:ph type="body" sz="quarter" idx="11"/>
          </p:nvPr>
        </p:nvSpPr>
        <p:spPr/>
        <p:txBody>
          <a:bodyPr/>
          <a:lstStyle/>
          <a:p>
            <a:r>
              <a:rPr lang="en-AU" dirty="0"/>
              <a:t>Key factors influencing optout rates:</a:t>
            </a:r>
          </a:p>
          <a:p>
            <a:pPr marL="628650" lvl="1" indent="-171450">
              <a:buFont typeface="Arial" panose="020B0604020202020204" pitchFamily="34" charset="0"/>
              <a:buChar char="•"/>
            </a:pPr>
            <a:r>
              <a:rPr lang="en-AU" sz="1200" dirty="0">
                <a:solidFill>
                  <a:schemeClr val="tx1"/>
                </a:solidFill>
                <a:latin typeface="Arial Nova Cond" panose="020B0506020202020204" pitchFamily="34" charset="0"/>
              </a:rPr>
              <a:t>education levels</a:t>
            </a:r>
          </a:p>
          <a:p>
            <a:pPr marL="628650" lvl="1" indent="-171450">
              <a:buFont typeface="Arial" panose="020B0604020202020204" pitchFamily="34" charset="0"/>
              <a:buChar char="•"/>
            </a:pPr>
            <a:r>
              <a:rPr lang="en-AU" sz="1200" dirty="0">
                <a:solidFill>
                  <a:schemeClr val="tx1"/>
                </a:solidFill>
                <a:latin typeface="Arial Nova Cond" panose="020B0506020202020204" pitchFamily="34" charset="0"/>
              </a:rPr>
              <a:t>age</a:t>
            </a:r>
          </a:p>
          <a:p>
            <a:pPr marL="628650" lvl="1" indent="-171450">
              <a:buFont typeface="Arial" panose="020B0604020202020204" pitchFamily="34" charset="0"/>
              <a:buChar char="•"/>
            </a:pPr>
            <a:r>
              <a:rPr lang="en-AU" sz="1200" dirty="0">
                <a:solidFill>
                  <a:schemeClr val="tx1"/>
                </a:solidFill>
                <a:latin typeface="Arial Nova Cond" panose="020B0506020202020204" pitchFamily="34" charset="0"/>
              </a:rPr>
              <a:t>regional locations</a:t>
            </a:r>
          </a:p>
          <a:p>
            <a:pPr marL="628650" lvl="1" indent="-171450">
              <a:buFont typeface="Arial" panose="020B0604020202020204" pitchFamily="34" charset="0"/>
              <a:buChar char="•"/>
            </a:pPr>
            <a:r>
              <a:rPr lang="en-AU" sz="1200" dirty="0">
                <a:solidFill>
                  <a:schemeClr val="tx1"/>
                </a:solidFill>
                <a:latin typeface="Arial Nova Cond" panose="020B0506020202020204" pitchFamily="34" charset="0"/>
              </a:rPr>
              <a:t>Indigenous.</a:t>
            </a:r>
          </a:p>
          <a:p>
            <a:endParaRPr lang="en-AU" dirty="0"/>
          </a:p>
        </p:txBody>
      </p:sp>
      <p:sp>
        <p:nvSpPr>
          <p:cNvPr id="8" name="Text Placeholder 7">
            <a:extLst>
              <a:ext uri="{FF2B5EF4-FFF2-40B4-BE49-F238E27FC236}">
                <a16:creationId xmlns:a16="http://schemas.microsoft.com/office/drawing/2014/main" id="{1F348876-B5CB-4A89-BC50-11D58C57C8CE}"/>
              </a:ext>
            </a:extLst>
          </p:cNvPr>
          <p:cNvSpPr>
            <a:spLocks noGrp="1"/>
          </p:cNvSpPr>
          <p:nvPr>
            <p:ph type="body" sz="quarter" idx="12"/>
          </p:nvPr>
        </p:nvSpPr>
        <p:spPr/>
        <p:txBody>
          <a:bodyPr/>
          <a:lstStyle/>
          <a:p>
            <a:r>
              <a:rPr lang="en-AU" dirty="0"/>
              <a:t>Digital literacy main driver of non-completion of the Online JSCI.</a:t>
            </a:r>
          </a:p>
          <a:p>
            <a:endParaRPr lang="en-AU" dirty="0"/>
          </a:p>
        </p:txBody>
      </p:sp>
      <p:sp>
        <p:nvSpPr>
          <p:cNvPr id="9" name="Text Placeholder 7">
            <a:extLst>
              <a:ext uri="{FF2B5EF4-FFF2-40B4-BE49-F238E27FC236}">
                <a16:creationId xmlns:a16="http://schemas.microsoft.com/office/drawing/2014/main" id="{0E8854F4-E78A-4C59-9581-B9D73C302869}"/>
              </a:ext>
            </a:extLst>
          </p:cNvPr>
          <p:cNvSpPr txBox="1">
            <a:spLocks/>
          </p:cNvSpPr>
          <p:nvPr/>
        </p:nvSpPr>
        <p:spPr>
          <a:xfrm>
            <a:off x="6460319" y="2853560"/>
            <a:ext cx="1882775" cy="1815316"/>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200" b="0" kern="1200">
                <a:solidFill>
                  <a:schemeClr val="tx1"/>
                </a:solidFill>
                <a:latin typeface="Arial Nova Cond" panose="020B0506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10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0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600"/>
              </a:spcBef>
            </a:pPr>
            <a:r>
              <a:rPr lang="en-AU" dirty="0"/>
              <a:t>Another key factor is repetitive nature.</a:t>
            </a:r>
          </a:p>
        </p:txBody>
      </p:sp>
      <p:cxnSp>
        <p:nvCxnSpPr>
          <p:cNvPr id="11" name="Straight Connector 10">
            <a:extLst>
              <a:ext uri="{FF2B5EF4-FFF2-40B4-BE49-F238E27FC236}">
                <a16:creationId xmlns:a16="http://schemas.microsoft.com/office/drawing/2014/main" id="{BAA192AF-BFB5-4512-85F3-57D0D00B7EA7}"/>
              </a:ext>
              <a:ext uri="{C183D7F6-B498-43B3-948B-1728B52AA6E4}">
                <adec:decorative xmlns:adec="http://schemas.microsoft.com/office/drawing/2017/decorative" val="1"/>
              </a:ext>
            </a:extLst>
          </p:cNvPr>
          <p:cNvCxnSpPr>
            <a:cxnSpLocks/>
          </p:cNvCxnSpPr>
          <p:nvPr/>
        </p:nvCxnSpPr>
        <p:spPr>
          <a:xfrm>
            <a:off x="5919952" y="1931276"/>
            <a:ext cx="882869" cy="0"/>
          </a:xfrm>
          <a:prstGeom prst="line">
            <a:avLst/>
          </a:prstGeom>
          <a:ln w="127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1774E3EC-ECF9-405F-B86F-6A779CE4ABC5}"/>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60006" y="1643276"/>
            <a:ext cx="576000" cy="576000"/>
          </a:xfrm>
          <a:prstGeom prst="rect">
            <a:avLst/>
          </a:prstGeom>
        </p:spPr>
      </p:pic>
      <p:pic>
        <p:nvPicPr>
          <p:cNvPr id="14" name="Graphic 13">
            <a:extLst>
              <a:ext uri="{FF2B5EF4-FFF2-40B4-BE49-F238E27FC236}">
                <a16:creationId xmlns:a16="http://schemas.microsoft.com/office/drawing/2014/main" id="{F9CDC789-B993-4210-82F7-74D9B53A9BF4}"/>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58476" y="1659042"/>
            <a:ext cx="576000" cy="576000"/>
          </a:xfrm>
          <a:prstGeom prst="rect">
            <a:avLst/>
          </a:prstGeom>
        </p:spPr>
      </p:pic>
      <p:pic>
        <p:nvPicPr>
          <p:cNvPr id="15" name="Graphic 14">
            <a:extLst>
              <a:ext uri="{FF2B5EF4-FFF2-40B4-BE49-F238E27FC236}">
                <a16:creationId xmlns:a16="http://schemas.microsoft.com/office/drawing/2014/main" id="{9CEF6022-C90F-4C17-9648-FB2B47F489BE}"/>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94809" y="1614696"/>
            <a:ext cx="576000" cy="576000"/>
          </a:xfrm>
          <a:prstGeom prst="rect">
            <a:avLst/>
          </a:prstGeom>
        </p:spPr>
      </p:pic>
      <p:pic>
        <p:nvPicPr>
          <p:cNvPr id="16" name="Graphic 15">
            <a:extLst>
              <a:ext uri="{FF2B5EF4-FFF2-40B4-BE49-F238E27FC236}">
                <a16:creationId xmlns:a16="http://schemas.microsoft.com/office/drawing/2014/main" id="{CE1D027D-E9E5-41A4-83FB-CEB514E0A12B}"/>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31142" y="1659042"/>
            <a:ext cx="576000" cy="576000"/>
          </a:xfrm>
          <a:prstGeom prst="rect">
            <a:avLst/>
          </a:prstGeom>
        </p:spPr>
      </p:pic>
    </p:spTree>
    <p:extLst>
      <p:ext uri="{BB962C8B-B14F-4D97-AF65-F5344CB8AC3E}">
        <p14:creationId xmlns:p14="http://schemas.microsoft.com/office/powerpoint/2010/main" val="759599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Enhancements in OES</a:t>
            </a:r>
          </a:p>
        </p:txBody>
      </p:sp>
      <p:grpSp>
        <p:nvGrpSpPr>
          <p:cNvPr id="4" name="Group 3">
            <a:extLst>
              <a:ext uri="{FF2B5EF4-FFF2-40B4-BE49-F238E27FC236}">
                <a16:creationId xmlns:a16="http://schemas.microsoft.com/office/drawing/2014/main" id="{4D159194-A2EB-4227-8777-74BD28BB1ADD}"/>
              </a:ext>
              <a:ext uri="{C183D7F6-B498-43B3-948B-1728B52AA6E4}">
                <adec:decorative xmlns:adec="http://schemas.microsoft.com/office/drawing/2017/decorative" val="1"/>
              </a:ext>
            </a:extLst>
          </p:cNvPr>
          <p:cNvGrpSpPr/>
          <p:nvPr/>
        </p:nvGrpSpPr>
        <p:grpSpPr>
          <a:xfrm>
            <a:off x="296646" y="1327677"/>
            <a:ext cx="4275354" cy="3471386"/>
            <a:chOff x="2703241" y="1268973"/>
            <a:chExt cx="3501461" cy="1182567"/>
          </a:xfrm>
        </p:grpSpPr>
        <p:sp>
          <p:nvSpPr>
            <p:cNvPr id="5" name="Rectangle: Rounded Corners 4">
              <a:extLst>
                <a:ext uri="{FF2B5EF4-FFF2-40B4-BE49-F238E27FC236}">
                  <a16:creationId xmlns:a16="http://schemas.microsoft.com/office/drawing/2014/main" id="{E7E52FD4-A8E4-4FE0-B2F8-A66FD0B5F4DD}"/>
                </a:ext>
              </a:extLst>
            </p:cNvPr>
            <p:cNvSpPr/>
            <p:nvPr/>
          </p:nvSpPr>
          <p:spPr>
            <a:xfrm rot="10800000">
              <a:off x="2703242" y="1268973"/>
              <a:ext cx="3501460" cy="1182567"/>
            </a:xfrm>
            <a:prstGeom prst="roundRect">
              <a:avLst>
                <a:gd name="adj" fmla="val 5168"/>
              </a:avLst>
            </a:prstGeom>
            <a:solidFill>
              <a:schemeClr val="bg1"/>
            </a:solidFill>
            <a:ln>
              <a:noFill/>
            </a:ln>
            <a:effectLst>
              <a:outerShdw blurRad="635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6" name="Freeform: Shape 5">
              <a:extLst>
                <a:ext uri="{FF2B5EF4-FFF2-40B4-BE49-F238E27FC236}">
                  <a16:creationId xmlns:a16="http://schemas.microsoft.com/office/drawing/2014/main" id="{BF6B9713-1C66-4BB0-BDC8-219F200F2476}"/>
                </a:ext>
              </a:extLst>
            </p:cNvPr>
            <p:cNvSpPr/>
            <p:nvPr/>
          </p:nvSpPr>
          <p:spPr>
            <a:xfrm rot="10800000">
              <a:off x="2703241" y="1268973"/>
              <a:ext cx="76424" cy="1182567"/>
            </a:xfrm>
            <a:custGeom>
              <a:avLst/>
              <a:gdLst>
                <a:gd name="connsiteX0" fmla="*/ 0 w 225830"/>
                <a:gd name="connsiteY0" fmla="*/ 0 h 2554926"/>
                <a:gd name="connsiteX1" fmla="*/ 93791 w 225830"/>
                <a:gd name="connsiteY1" fmla="*/ 0 h 2554926"/>
                <a:gd name="connsiteX2" fmla="*/ 225830 w 225830"/>
                <a:gd name="connsiteY2" fmla="*/ 132039 h 2554926"/>
                <a:gd name="connsiteX3" fmla="*/ 225830 w 225830"/>
                <a:gd name="connsiteY3" fmla="*/ 2422887 h 2554926"/>
                <a:gd name="connsiteX4" fmla="*/ 93791 w 225830"/>
                <a:gd name="connsiteY4" fmla="*/ 2554926 h 2554926"/>
                <a:gd name="connsiteX5" fmla="*/ 0 w 225830"/>
                <a:gd name="connsiteY5" fmla="*/ 2554926 h 255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30" h="2554926">
                  <a:moveTo>
                    <a:pt x="0" y="0"/>
                  </a:moveTo>
                  <a:lnTo>
                    <a:pt x="93791" y="0"/>
                  </a:lnTo>
                  <a:cubicBezTo>
                    <a:pt x="166714" y="0"/>
                    <a:pt x="225830" y="59116"/>
                    <a:pt x="225830" y="132039"/>
                  </a:cubicBezTo>
                  <a:lnTo>
                    <a:pt x="225830" y="2422887"/>
                  </a:lnTo>
                  <a:cubicBezTo>
                    <a:pt x="225830" y="2495810"/>
                    <a:pt x="166714" y="2554926"/>
                    <a:pt x="93791" y="2554926"/>
                  </a:cubicBezTo>
                  <a:lnTo>
                    <a:pt x="0" y="2554926"/>
                  </a:lnTo>
                  <a:close/>
                </a:path>
              </a:pathLst>
            </a:custGeom>
            <a:solidFill>
              <a:srgbClr val="287D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grpSp>
      <p:sp>
        <p:nvSpPr>
          <p:cNvPr id="7" name="TextBox 6">
            <a:extLst>
              <a:ext uri="{FF2B5EF4-FFF2-40B4-BE49-F238E27FC236}">
                <a16:creationId xmlns:a16="http://schemas.microsoft.com/office/drawing/2014/main" id="{29A7B438-DD23-4DC9-AA34-280DA1477361}"/>
              </a:ext>
            </a:extLst>
          </p:cNvPr>
          <p:cNvSpPr txBox="1"/>
          <p:nvPr/>
        </p:nvSpPr>
        <p:spPr>
          <a:xfrm>
            <a:off x="572873" y="1496274"/>
            <a:ext cx="3722900" cy="3134191"/>
          </a:xfrm>
          <a:prstGeom prst="rect">
            <a:avLst/>
          </a:prstGeom>
          <a:noFill/>
        </p:spPr>
        <p:txBody>
          <a:bodyPr wrap="square" rtlCol="0">
            <a:spAutoFit/>
          </a:bodyPr>
          <a:lstStyle/>
          <a:p>
            <a:pPr marL="285750" indent="-285750">
              <a:spcBef>
                <a:spcPts val="450"/>
              </a:spcBef>
              <a:spcAft>
                <a:spcPts val="450"/>
              </a:spcAft>
              <a:buFont typeface="Arial" panose="020B0604020202020204" pitchFamily="34" charset="0"/>
              <a:buChar char="•"/>
            </a:pPr>
            <a:r>
              <a:rPr lang="en-AU" sz="1200" dirty="0">
                <a:solidFill>
                  <a:srgbClr val="287DB2"/>
                </a:solidFill>
                <a:latin typeface="Arial Nova" panose="020B0504020202020204" pitchFamily="34" charset="0"/>
              </a:rPr>
              <a:t>Improving onboarding processes for the platform.</a:t>
            </a:r>
          </a:p>
          <a:p>
            <a:pPr marL="285750" indent="-285750">
              <a:spcBef>
                <a:spcPts val="450"/>
              </a:spcBef>
              <a:spcAft>
                <a:spcPts val="450"/>
              </a:spcAft>
              <a:buFont typeface="Arial" panose="020B0604020202020204" pitchFamily="34" charset="0"/>
              <a:buChar char="•"/>
            </a:pPr>
            <a:r>
              <a:rPr lang="en-AU" sz="1200" dirty="0">
                <a:solidFill>
                  <a:srgbClr val="287DB2"/>
                </a:solidFill>
                <a:latin typeface="Arial Nova" panose="020B0504020202020204" pitchFamily="34" charset="0"/>
              </a:rPr>
              <a:t>Changing the Digital Assessment and including a 4-monthly Digital Service Review (DSR).</a:t>
            </a:r>
          </a:p>
          <a:p>
            <a:pPr marL="285750" indent="-285750">
              <a:spcBef>
                <a:spcPts val="450"/>
              </a:spcBef>
              <a:spcAft>
                <a:spcPts val="450"/>
              </a:spcAft>
              <a:buFont typeface="Arial" panose="020B0604020202020204" pitchFamily="34" charset="0"/>
              <a:buChar char="•"/>
            </a:pPr>
            <a:r>
              <a:rPr lang="en-AU" sz="1200" dirty="0">
                <a:solidFill>
                  <a:srgbClr val="287DB2"/>
                </a:solidFill>
                <a:latin typeface="Arial Nova" panose="020B0504020202020204" pitchFamily="34" charset="0"/>
              </a:rPr>
              <a:t>Offering a range of through the Digital Services Contact Centre (DSCC).</a:t>
            </a:r>
          </a:p>
          <a:p>
            <a:pPr marL="285750" indent="-285750">
              <a:spcBef>
                <a:spcPts val="450"/>
              </a:spcBef>
              <a:spcAft>
                <a:spcPts val="450"/>
              </a:spcAft>
              <a:buFont typeface="Arial" panose="020B0604020202020204" pitchFamily="34" charset="0"/>
              <a:buChar char="•"/>
            </a:pPr>
            <a:r>
              <a:rPr lang="en-AU" sz="1200" dirty="0">
                <a:solidFill>
                  <a:srgbClr val="287DB2"/>
                </a:solidFill>
                <a:latin typeface="Arial Nova" panose="020B0504020202020204" pitchFamily="34" charset="0"/>
              </a:rPr>
              <a:t>Supporting job seekers to upskill or reskill through short courses.</a:t>
            </a:r>
          </a:p>
          <a:p>
            <a:pPr marL="285750" indent="-285750">
              <a:spcBef>
                <a:spcPts val="450"/>
              </a:spcBef>
              <a:spcAft>
                <a:spcPts val="450"/>
              </a:spcAft>
              <a:buFont typeface="Arial" panose="020B0604020202020204" pitchFamily="34" charset="0"/>
              <a:buChar char="•"/>
            </a:pPr>
            <a:r>
              <a:rPr lang="en-AU" sz="1200" dirty="0">
                <a:solidFill>
                  <a:srgbClr val="287DB2"/>
                </a:solidFill>
                <a:latin typeface="Arial Nova" panose="020B0504020202020204" pitchFamily="34" charset="0"/>
              </a:rPr>
              <a:t>Offering skills matching tools from Jobs and Education Data Infrastructure (JEDI) and links to the National Career Institute (NCI) platform.</a:t>
            </a:r>
          </a:p>
          <a:p>
            <a:pPr marL="285750" indent="-285750">
              <a:spcBef>
                <a:spcPts val="450"/>
              </a:spcBef>
              <a:spcAft>
                <a:spcPts val="450"/>
              </a:spcAft>
              <a:buFont typeface="Arial" panose="020B0604020202020204" pitchFamily="34" charset="0"/>
              <a:buChar char="•"/>
            </a:pPr>
            <a:r>
              <a:rPr lang="en-AU" sz="1200" dirty="0">
                <a:solidFill>
                  <a:srgbClr val="287DB2"/>
                </a:solidFill>
                <a:latin typeface="Arial Nova" panose="020B0504020202020204" pitchFamily="34" charset="0"/>
              </a:rPr>
              <a:t>Adding functionality allowing employers to better describe requirements.</a:t>
            </a:r>
          </a:p>
        </p:txBody>
      </p:sp>
      <p:grpSp>
        <p:nvGrpSpPr>
          <p:cNvPr id="30" name="Group 29">
            <a:extLst>
              <a:ext uri="{FF2B5EF4-FFF2-40B4-BE49-F238E27FC236}">
                <a16:creationId xmlns:a16="http://schemas.microsoft.com/office/drawing/2014/main" id="{6859BC63-CFA9-4E9D-81F7-0D6DDDB61BDA}"/>
              </a:ext>
              <a:ext uri="{C183D7F6-B498-43B3-948B-1728B52AA6E4}">
                <adec:decorative xmlns:adec="http://schemas.microsoft.com/office/drawing/2017/decorative" val="1"/>
              </a:ext>
            </a:extLst>
          </p:cNvPr>
          <p:cNvGrpSpPr/>
          <p:nvPr/>
        </p:nvGrpSpPr>
        <p:grpSpPr>
          <a:xfrm>
            <a:off x="4844726" y="1327677"/>
            <a:ext cx="3842074" cy="3471386"/>
            <a:chOff x="2703241" y="1268973"/>
            <a:chExt cx="3501461" cy="1182567"/>
          </a:xfrm>
        </p:grpSpPr>
        <p:sp>
          <p:nvSpPr>
            <p:cNvPr id="31" name="Rectangle: Rounded Corners 30">
              <a:extLst>
                <a:ext uri="{FF2B5EF4-FFF2-40B4-BE49-F238E27FC236}">
                  <a16:creationId xmlns:a16="http://schemas.microsoft.com/office/drawing/2014/main" id="{F2C13365-4C0E-478F-8C47-9D01C8ECC80A}"/>
                </a:ext>
              </a:extLst>
            </p:cNvPr>
            <p:cNvSpPr/>
            <p:nvPr/>
          </p:nvSpPr>
          <p:spPr>
            <a:xfrm rot="10800000">
              <a:off x="2703242" y="1268973"/>
              <a:ext cx="3501460" cy="1182567"/>
            </a:xfrm>
            <a:prstGeom prst="roundRect">
              <a:avLst>
                <a:gd name="adj" fmla="val 5168"/>
              </a:avLst>
            </a:prstGeom>
            <a:solidFill>
              <a:schemeClr val="bg1"/>
            </a:solidFill>
            <a:ln>
              <a:noFill/>
            </a:ln>
            <a:effectLst>
              <a:outerShdw blurRad="635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32" name="Freeform: Shape 31">
              <a:extLst>
                <a:ext uri="{FF2B5EF4-FFF2-40B4-BE49-F238E27FC236}">
                  <a16:creationId xmlns:a16="http://schemas.microsoft.com/office/drawing/2014/main" id="{F4C39659-C8BE-4BD0-B16C-FEF5299358C0}"/>
                </a:ext>
              </a:extLst>
            </p:cNvPr>
            <p:cNvSpPr/>
            <p:nvPr/>
          </p:nvSpPr>
          <p:spPr>
            <a:xfrm rot="10800000">
              <a:off x="2703241" y="1268973"/>
              <a:ext cx="76424" cy="1182567"/>
            </a:xfrm>
            <a:custGeom>
              <a:avLst/>
              <a:gdLst>
                <a:gd name="connsiteX0" fmla="*/ 0 w 225830"/>
                <a:gd name="connsiteY0" fmla="*/ 0 h 2554926"/>
                <a:gd name="connsiteX1" fmla="*/ 93791 w 225830"/>
                <a:gd name="connsiteY1" fmla="*/ 0 h 2554926"/>
                <a:gd name="connsiteX2" fmla="*/ 225830 w 225830"/>
                <a:gd name="connsiteY2" fmla="*/ 132039 h 2554926"/>
                <a:gd name="connsiteX3" fmla="*/ 225830 w 225830"/>
                <a:gd name="connsiteY3" fmla="*/ 2422887 h 2554926"/>
                <a:gd name="connsiteX4" fmla="*/ 93791 w 225830"/>
                <a:gd name="connsiteY4" fmla="*/ 2554926 h 2554926"/>
                <a:gd name="connsiteX5" fmla="*/ 0 w 225830"/>
                <a:gd name="connsiteY5" fmla="*/ 2554926 h 255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30" h="2554926">
                  <a:moveTo>
                    <a:pt x="0" y="0"/>
                  </a:moveTo>
                  <a:lnTo>
                    <a:pt x="93791" y="0"/>
                  </a:lnTo>
                  <a:cubicBezTo>
                    <a:pt x="166714" y="0"/>
                    <a:pt x="225830" y="59116"/>
                    <a:pt x="225830" y="132039"/>
                  </a:cubicBezTo>
                  <a:lnTo>
                    <a:pt x="225830" y="2422887"/>
                  </a:lnTo>
                  <a:cubicBezTo>
                    <a:pt x="225830" y="2495810"/>
                    <a:pt x="166714" y="2554926"/>
                    <a:pt x="93791" y="2554926"/>
                  </a:cubicBezTo>
                  <a:lnTo>
                    <a:pt x="0" y="2554926"/>
                  </a:lnTo>
                  <a:close/>
                </a:path>
              </a:pathLst>
            </a:custGeom>
            <a:solidFill>
              <a:srgbClr val="C954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grpSp>
      <p:sp>
        <p:nvSpPr>
          <p:cNvPr id="33" name="TextBox 32">
            <a:extLst>
              <a:ext uri="{FF2B5EF4-FFF2-40B4-BE49-F238E27FC236}">
                <a16:creationId xmlns:a16="http://schemas.microsoft.com/office/drawing/2014/main" id="{B2DFEE30-8E3D-40A8-9C3E-63B904EFD908}"/>
              </a:ext>
            </a:extLst>
          </p:cNvPr>
          <p:cNvSpPr txBox="1"/>
          <p:nvPr/>
        </p:nvSpPr>
        <p:spPr>
          <a:xfrm>
            <a:off x="5201309" y="1680940"/>
            <a:ext cx="3149571" cy="2949525"/>
          </a:xfrm>
          <a:prstGeom prst="rect">
            <a:avLst/>
          </a:prstGeom>
          <a:noFill/>
        </p:spPr>
        <p:txBody>
          <a:bodyPr wrap="square" rtlCol="0">
            <a:spAutoFit/>
          </a:bodyPr>
          <a:lstStyle/>
          <a:p>
            <a:pPr marL="171450" indent="-171450">
              <a:spcBef>
                <a:spcPts val="450"/>
              </a:spcBef>
              <a:spcAft>
                <a:spcPts val="450"/>
              </a:spcAft>
              <a:buFont typeface="Arial" panose="020B0604020202020204" pitchFamily="34" charset="0"/>
              <a:buChar char="•"/>
            </a:pPr>
            <a:r>
              <a:rPr lang="en-AU" sz="1200" dirty="0">
                <a:solidFill>
                  <a:srgbClr val="C9541E"/>
                </a:solidFill>
                <a:latin typeface="Arial Nova" panose="020B0504020202020204" pitchFamily="34" charset="0"/>
              </a:rPr>
              <a:t>Job seekers can optout at any point.</a:t>
            </a:r>
          </a:p>
          <a:p>
            <a:pPr marL="171450" indent="-171450">
              <a:spcBef>
                <a:spcPts val="450"/>
              </a:spcBef>
              <a:spcAft>
                <a:spcPts val="450"/>
              </a:spcAft>
              <a:buFont typeface="Arial" panose="020B0604020202020204" pitchFamily="34" charset="0"/>
              <a:buChar char="•"/>
            </a:pPr>
            <a:r>
              <a:rPr lang="en-AU" sz="1200" dirty="0">
                <a:solidFill>
                  <a:srgbClr val="C9541E"/>
                </a:solidFill>
                <a:latin typeface="Arial Nova" panose="020B0504020202020204" pitchFamily="34" charset="0"/>
              </a:rPr>
              <a:t>Job seekers can update their Job Seeker Snapshot (JSS).</a:t>
            </a:r>
          </a:p>
          <a:p>
            <a:pPr marL="171450" indent="-171450">
              <a:spcBef>
                <a:spcPts val="450"/>
              </a:spcBef>
              <a:spcAft>
                <a:spcPts val="450"/>
              </a:spcAft>
              <a:buFont typeface="Arial" panose="020B0604020202020204" pitchFamily="34" charset="0"/>
              <a:buChar char="•"/>
            </a:pPr>
            <a:r>
              <a:rPr lang="en-AU" sz="1200" dirty="0">
                <a:solidFill>
                  <a:srgbClr val="C9541E"/>
                </a:solidFill>
                <a:latin typeface="Arial Nova" panose="020B0504020202020204" pitchFamily="34" charset="0"/>
              </a:rPr>
              <a:t>The DSCC supplements human interactions.</a:t>
            </a:r>
          </a:p>
          <a:p>
            <a:pPr marL="171450" indent="-171450">
              <a:spcBef>
                <a:spcPts val="450"/>
              </a:spcBef>
              <a:spcAft>
                <a:spcPts val="450"/>
              </a:spcAft>
              <a:buFont typeface="Arial" panose="020B0604020202020204" pitchFamily="34" charset="0"/>
              <a:buChar char="•"/>
            </a:pPr>
            <a:r>
              <a:rPr lang="en-AU" sz="1200" dirty="0">
                <a:solidFill>
                  <a:srgbClr val="C9541E"/>
                </a:solidFill>
                <a:latin typeface="Arial Nova" panose="020B0504020202020204" pitchFamily="34" charset="0"/>
              </a:rPr>
              <a:t>The DSR assesses whether job seekers capable of self-managing.</a:t>
            </a:r>
          </a:p>
          <a:p>
            <a:pPr marL="171450" indent="-171450">
              <a:spcBef>
                <a:spcPts val="450"/>
              </a:spcBef>
              <a:spcAft>
                <a:spcPts val="450"/>
              </a:spcAft>
              <a:buFont typeface="Arial" panose="020B0604020202020204" pitchFamily="34" charset="0"/>
              <a:buChar char="•"/>
            </a:pPr>
            <a:r>
              <a:rPr lang="en-AU" sz="1200" dirty="0">
                <a:solidFill>
                  <a:srgbClr val="C9541E"/>
                </a:solidFill>
                <a:latin typeface="Arial Nova" panose="020B0504020202020204" pitchFamily="34" charset="0"/>
              </a:rPr>
              <a:t>Job seeker encouraged to opt out if the Digital Assessment and DSR suggest unsuitable.</a:t>
            </a:r>
          </a:p>
          <a:p>
            <a:pPr marL="171450" indent="-171450">
              <a:spcBef>
                <a:spcPts val="450"/>
              </a:spcBef>
              <a:spcAft>
                <a:spcPts val="450"/>
              </a:spcAft>
              <a:buFont typeface="Arial" panose="020B0604020202020204" pitchFamily="34" charset="0"/>
              <a:buChar char="•"/>
            </a:pPr>
            <a:r>
              <a:rPr lang="en-AU" sz="1200" dirty="0">
                <a:solidFill>
                  <a:srgbClr val="C9541E"/>
                </a:solidFill>
                <a:latin typeface="Arial Nova" panose="020B0504020202020204" pitchFamily="34" charset="0"/>
              </a:rPr>
              <a:t>Young people in OES will have access sessions with a </a:t>
            </a:r>
            <a:r>
              <a:rPr lang="en-AU" sz="1200" dirty="0" err="1">
                <a:solidFill>
                  <a:srgbClr val="C9541E"/>
                </a:solidFill>
                <a:latin typeface="Arial Nova" panose="020B0504020202020204" pitchFamily="34" charset="0"/>
              </a:rPr>
              <a:t>TtW</a:t>
            </a:r>
            <a:r>
              <a:rPr lang="en-AU" sz="1200" dirty="0">
                <a:solidFill>
                  <a:srgbClr val="C9541E"/>
                </a:solidFill>
                <a:latin typeface="Arial Nova" panose="020B0504020202020204" pitchFamily="34" charset="0"/>
              </a:rPr>
              <a:t> provider.</a:t>
            </a:r>
          </a:p>
        </p:txBody>
      </p:sp>
      <p:sp>
        <p:nvSpPr>
          <p:cNvPr id="38" name="TextBox 37">
            <a:extLst>
              <a:ext uri="{FF2B5EF4-FFF2-40B4-BE49-F238E27FC236}">
                <a16:creationId xmlns:a16="http://schemas.microsoft.com/office/drawing/2014/main" id="{AA89CDCB-61CC-4EFF-8DB7-01D3F4E1242F}"/>
              </a:ext>
            </a:extLst>
          </p:cNvPr>
          <p:cNvSpPr txBox="1"/>
          <p:nvPr/>
        </p:nvSpPr>
        <p:spPr>
          <a:xfrm>
            <a:off x="5088954" y="1342385"/>
            <a:ext cx="3149571" cy="307777"/>
          </a:xfrm>
          <a:prstGeom prst="rect">
            <a:avLst/>
          </a:prstGeom>
          <a:noFill/>
        </p:spPr>
        <p:txBody>
          <a:bodyPr wrap="square" rtlCol="0">
            <a:spAutoFit/>
          </a:bodyPr>
          <a:lstStyle/>
          <a:p>
            <a:pPr>
              <a:spcBef>
                <a:spcPts val="450"/>
              </a:spcBef>
              <a:spcAft>
                <a:spcPts val="450"/>
              </a:spcAft>
            </a:pPr>
            <a:r>
              <a:rPr lang="en-AU" sz="1400" b="1" dirty="0">
                <a:solidFill>
                  <a:srgbClr val="C9541E"/>
                </a:solidFill>
                <a:latin typeface="Arial Nova" panose="020B0504020202020204" pitchFamily="34" charset="0"/>
              </a:rPr>
              <a:t>Safeguards</a:t>
            </a:r>
          </a:p>
        </p:txBody>
      </p:sp>
    </p:spTree>
    <p:extLst>
      <p:ext uri="{BB962C8B-B14F-4D97-AF65-F5344CB8AC3E}">
        <p14:creationId xmlns:p14="http://schemas.microsoft.com/office/powerpoint/2010/main" val="308776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E2643536-EEE4-4DC7-8FB4-6DA1A0CB4B81}"/>
              </a:ext>
              <a:ext uri="{C183D7F6-B498-43B3-948B-1728B52AA6E4}">
                <adec:decorative xmlns:adec="http://schemas.microsoft.com/office/drawing/2017/decorative" val="1"/>
              </a:ext>
            </a:extLst>
          </p:cNvPr>
          <p:cNvGrpSpPr/>
          <p:nvPr/>
        </p:nvGrpSpPr>
        <p:grpSpPr>
          <a:xfrm>
            <a:off x="4827242" y="2107096"/>
            <a:ext cx="792579" cy="739500"/>
            <a:chOff x="1327445" y="1748780"/>
            <a:chExt cx="792579" cy="739500"/>
          </a:xfrm>
        </p:grpSpPr>
        <p:sp>
          <p:nvSpPr>
            <p:cNvPr id="8" name="Oval 7">
              <a:extLst>
                <a:ext uri="{FF2B5EF4-FFF2-40B4-BE49-F238E27FC236}">
                  <a16:creationId xmlns:a16="http://schemas.microsoft.com/office/drawing/2014/main" id="{F1F5D1ED-BB06-4BC0-9A47-5CE23EA699A8}"/>
                </a:ext>
              </a:extLst>
            </p:cNvPr>
            <p:cNvSpPr/>
            <p:nvPr/>
          </p:nvSpPr>
          <p:spPr>
            <a:xfrm>
              <a:off x="1327445" y="1748780"/>
              <a:ext cx="792579" cy="739500"/>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dirty="0">
                <a:solidFill>
                  <a:srgbClr val="000000"/>
                </a:solidFill>
                <a:latin typeface="Arial"/>
              </a:endParaRPr>
            </a:p>
          </p:txBody>
        </p:sp>
        <p:pic>
          <p:nvPicPr>
            <p:cNvPr id="10" name="Graphic 9" descr="Bullseye">
              <a:extLst>
                <a:ext uri="{FF2B5EF4-FFF2-40B4-BE49-F238E27FC236}">
                  <a16:creationId xmlns:a16="http://schemas.microsoft.com/office/drawing/2014/main" id="{FE22C35D-A4ED-40CD-B226-E7ECC3EA75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99796" y="1819442"/>
              <a:ext cx="641110" cy="598175"/>
            </a:xfrm>
            <a:prstGeom prst="rect">
              <a:avLst/>
            </a:prstGeom>
          </p:spPr>
        </p:pic>
      </p:grpSp>
      <p:sp>
        <p:nvSpPr>
          <p:cNvPr id="12" name="Oval 11">
            <a:extLst>
              <a:ext uri="{FF2B5EF4-FFF2-40B4-BE49-F238E27FC236}">
                <a16:creationId xmlns:a16="http://schemas.microsoft.com/office/drawing/2014/main" id="{32B60017-2515-4EE8-872F-23A90E291D12}"/>
              </a:ext>
              <a:ext uri="{C183D7F6-B498-43B3-948B-1728B52AA6E4}">
                <adec:decorative xmlns:adec="http://schemas.microsoft.com/office/drawing/2017/decorative" val="1"/>
              </a:ext>
            </a:extLst>
          </p:cNvPr>
          <p:cNvSpPr/>
          <p:nvPr/>
        </p:nvSpPr>
        <p:spPr>
          <a:xfrm>
            <a:off x="759963" y="2126729"/>
            <a:ext cx="792579" cy="739500"/>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dirty="0">
              <a:solidFill>
                <a:srgbClr val="000000"/>
              </a:solidFill>
              <a:latin typeface="Arial"/>
            </a:endParaRPr>
          </a:p>
        </p:txBody>
      </p:sp>
      <p:sp>
        <p:nvSpPr>
          <p:cNvPr id="15" name="Oval 14">
            <a:extLst>
              <a:ext uri="{FF2B5EF4-FFF2-40B4-BE49-F238E27FC236}">
                <a16:creationId xmlns:a16="http://schemas.microsoft.com/office/drawing/2014/main" id="{CE918952-754C-45DF-A5C6-EC749D9267D5}"/>
              </a:ext>
              <a:ext uri="{C183D7F6-B498-43B3-948B-1728B52AA6E4}">
                <adec:decorative xmlns:adec="http://schemas.microsoft.com/office/drawing/2017/decorative" val="1"/>
              </a:ext>
            </a:extLst>
          </p:cNvPr>
          <p:cNvSpPr/>
          <p:nvPr/>
        </p:nvSpPr>
        <p:spPr>
          <a:xfrm>
            <a:off x="4823858" y="3404811"/>
            <a:ext cx="792579" cy="739500"/>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dirty="0">
              <a:solidFill>
                <a:srgbClr val="000000"/>
              </a:solidFill>
              <a:latin typeface="Arial"/>
            </a:endParaRPr>
          </a:p>
        </p:txBody>
      </p:sp>
      <p:sp>
        <p:nvSpPr>
          <p:cNvPr id="18" name="Oval 17">
            <a:extLst>
              <a:ext uri="{FF2B5EF4-FFF2-40B4-BE49-F238E27FC236}">
                <a16:creationId xmlns:a16="http://schemas.microsoft.com/office/drawing/2014/main" id="{3ACA91D3-96EC-4074-A415-09C8AC1FD17A}"/>
              </a:ext>
              <a:ext uri="{C183D7F6-B498-43B3-948B-1728B52AA6E4}">
                <adec:decorative xmlns:adec="http://schemas.microsoft.com/office/drawing/2017/decorative" val="1"/>
              </a:ext>
            </a:extLst>
          </p:cNvPr>
          <p:cNvSpPr/>
          <p:nvPr/>
        </p:nvSpPr>
        <p:spPr>
          <a:xfrm>
            <a:off x="759963" y="3430030"/>
            <a:ext cx="792579" cy="739500"/>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dirty="0">
              <a:solidFill>
                <a:srgbClr val="000000"/>
              </a:solidFill>
              <a:latin typeface="Arial"/>
            </a:endParaRPr>
          </a:p>
        </p:txBody>
      </p:sp>
      <p:sp>
        <p:nvSpPr>
          <p:cNvPr id="2" name="Title 1">
            <a:extLst>
              <a:ext uri="{FF2B5EF4-FFF2-40B4-BE49-F238E27FC236}">
                <a16:creationId xmlns:a16="http://schemas.microsoft.com/office/drawing/2014/main" id="{254F5840-9062-4C21-9966-D190E6C2EAE2}"/>
              </a:ext>
            </a:extLst>
          </p:cNvPr>
          <p:cNvSpPr>
            <a:spLocks noGrp="1"/>
          </p:cNvSpPr>
          <p:nvPr>
            <p:ph type="title" idx="4294967295"/>
          </p:nvPr>
        </p:nvSpPr>
        <p:spPr>
          <a:xfrm>
            <a:off x="628650" y="540740"/>
            <a:ext cx="7886700" cy="993775"/>
          </a:xfrm>
        </p:spPr>
        <p:txBody>
          <a:bodyPr/>
          <a:lstStyle/>
          <a:p>
            <a:r>
              <a:rPr lang="en-AU" sz="2400" b="1" dirty="0">
                <a:latin typeface="Arial Nova" panose="020B0504020202020204" pitchFamily="34" charset="0"/>
              </a:rPr>
              <a:t>The New Employment Services Trial (NEST)</a:t>
            </a:r>
          </a:p>
        </p:txBody>
      </p:sp>
      <p:sp>
        <p:nvSpPr>
          <p:cNvPr id="20" name="TextBox 19">
            <a:extLst>
              <a:ext uri="{FF2B5EF4-FFF2-40B4-BE49-F238E27FC236}">
                <a16:creationId xmlns:a16="http://schemas.microsoft.com/office/drawing/2014/main" id="{4101D1D5-46E9-4581-A6F9-852839798351}"/>
              </a:ext>
            </a:extLst>
          </p:cNvPr>
          <p:cNvSpPr txBox="1"/>
          <p:nvPr/>
        </p:nvSpPr>
        <p:spPr>
          <a:xfrm flipH="1">
            <a:off x="1755886" y="2232939"/>
            <a:ext cx="3033151" cy="536814"/>
          </a:xfrm>
          <a:prstGeom prst="rect">
            <a:avLst/>
          </a:prstGeom>
          <a:noFill/>
        </p:spPr>
        <p:txBody>
          <a:bodyPr wrap="square" rtlCol="0">
            <a:spAutoFit/>
          </a:bodyPr>
          <a:lstStyle/>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The new Digital and Enhanced Services offerings</a:t>
            </a:r>
          </a:p>
        </p:txBody>
      </p:sp>
      <p:sp>
        <p:nvSpPr>
          <p:cNvPr id="21" name="TextBox 20">
            <a:extLst>
              <a:ext uri="{FF2B5EF4-FFF2-40B4-BE49-F238E27FC236}">
                <a16:creationId xmlns:a16="http://schemas.microsoft.com/office/drawing/2014/main" id="{D52A7DE8-45FB-4518-9150-AA4B15996286}"/>
              </a:ext>
            </a:extLst>
          </p:cNvPr>
          <p:cNvSpPr txBox="1"/>
          <p:nvPr/>
        </p:nvSpPr>
        <p:spPr>
          <a:xfrm flipH="1">
            <a:off x="1762881" y="3669979"/>
            <a:ext cx="3033151" cy="305981"/>
          </a:xfrm>
          <a:prstGeom prst="rect">
            <a:avLst/>
          </a:prstGeom>
          <a:noFill/>
        </p:spPr>
        <p:txBody>
          <a:bodyPr wrap="square" rtlCol="0">
            <a:spAutoFit/>
          </a:bodyPr>
          <a:lstStyle/>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New payment structures</a:t>
            </a:r>
          </a:p>
        </p:txBody>
      </p:sp>
      <p:sp>
        <p:nvSpPr>
          <p:cNvPr id="22" name="TextBox 21">
            <a:extLst>
              <a:ext uri="{FF2B5EF4-FFF2-40B4-BE49-F238E27FC236}">
                <a16:creationId xmlns:a16="http://schemas.microsoft.com/office/drawing/2014/main" id="{01B36EDA-F434-43EA-9D98-023F4CA97568}"/>
              </a:ext>
            </a:extLst>
          </p:cNvPr>
          <p:cNvSpPr txBox="1"/>
          <p:nvPr/>
        </p:nvSpPr>
        <p:spPr>
          <a:xfrm flipH="1">
            <a:off x="5783696" y="2203282"/>
            <a:ext cx="3033151" cy="536814"/>
          </a:xfrm>
          <a:prstGeom prst="rect">
            <a:avLst/>
          </a:prstGeom>
          <a:noFill/>
        </p:spPr>
        <p:txBody>
          <a:bodyPr wrap="square" rtlCol="0">
            <a:spAutoFit/>
          </a:bodyPr>
          <a:lstStyle/>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A new flexible, points-based mutual obligations system - PBAS</a:t>
            </a:r>
          </a:p>
        </p:txBody>
      </p:sp>
      <p:sp>
        <p:nvSpPr>
          <p:cNvPr id="23" name="TextBox 22">
            <a:extLst>
              <a:ext uri="{FF2B5EF4-FFF2-40B4-BE49-F238E27FC236}">
                <a16:creationId xmlns:a16="http://schemas.microsoft.com/office/drawing/2014/main" id="{547D3C9E-22E7-47F8-8F6B-4FD4E794137E}"/>
              </a:ext>
            </a:extLst>
          </p:cNvPr>
          <p:cNvSpPr txBox="1"/>
          <p:nvPr/>
        </p:nvSpPr>
        <p:spPr>
          <a:xfrm flipH="1">
            <a:off x="5783696" y="3536834"/>
            <a:ext cx="3033151" cy="536814"/>
          </a:xfrm>
          <a:prstGeom prst="rect">
            <a:avLst/>
          </a:prstGeom>
          <a:noFill/>
        </p:spPr>
        <p:txBody>
          <a:bodyPr wrap="square" rtlCol="0">
            <a:spAutoFit/>
          </a:bodyPr>
          <a:lstStyle/>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Aspects of a new job seeker assessment framework</a:t>
            </a:r>
          </a:p>
        </p:txBody>
      </p:sp>
      <p:pic>
        <p:nvPicPr>
          <p:cNvPr id="26" name="Graphic 25">
            <a:extLst>
              <a:ext uri="{FF2B5EF4-FFF2-40B4-BE49-F238E27FC236}">
                <a16:creationId xmlns:a16="http://schemas.microsoft.com/office/drawing/2014/main" id="{497803E0-A80F-4B14-A6FC-7A95BC40EC06}"/>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4406" y="2271555"/>
            <a:ext cx="432757" cy="432757"/>
          </a:xfrm>
          <a:prstGeom prst="rect">
            <a:avLst/>
          </a:prstGeom>
        </p:spPr>
      </p:pic>
      <p:sp>
        <p:nvSpPr>
          <p:cNvPr id="27" name="Title 1">
            <a:extLst>
              <a:ext uri="{FF2B5EF4-FFF2-40B4-BE49-F238E27FC236}">
                <a16:creationId xmlns:a16="http://schemas.microsoft.com/office/drawing/2014/main" id="{4484313D-1477-4B8C-A6BE-9BE80E1A4BE0}"/>
              </a:ext>
              <a:ext uri="{C183D7F6-B498-43B3-948B-1728B52AA6E4}">
                <adec:decorative xmlns:adec="http://schemas.microsoft.com/office/drawing/2017/decorative" val="1"/>
              </a:ext>
            </a:extLst>
          </p:cNvPr>
          <p:cNvSpPr txBox="1">
            <a:spLocks/>
          </p:cNvSpPr>
          <p:nvPr/>
        </p:nvSpPr>
        <p:spPr>
          <a:xfrm>
            <a:off x="964284" y="3581418"/>
            <a:ext cx="432757" cy="562893"/>
          </a:xfrm>
          <a:prstGeom prst="rect">
            <a:avLst/>
          </a:prstGeom>
        </p:spPr>
        <p:txBody>
          <a:bodyPr>
            <a:normAutofit/>
          </a:bodyPr>
          <a:lstStyle>
            <a:lvl1pPr algn="l" defTabSz="685783" rtl="0" eaLnBrk="1" latinLnBrk="0" hangingPunct="1">
              <a:lnSpc>
                <a:spcPct val="90000"/>
              </a:lnSpc>
              <a:spcBef>
                <a:spcPct val="0"/>
              </a:spcBef>
              <a:buNone/>
              <a:defRPr kumimoji="0" lang="en-US" sz="2500" b="0" i="0" u="none" strike="noStrike" kern="1200" cap="none" spc="0" normalizeH="0" baseline="0" dirty="0">
                <a:ln>
                  <a:noFill/>
                </a:ln>
                <a:solidFill>
                  <a:srgbClr val="002D3F"/>
                </a:solidFill>
                <a:effectLst/>
                <a:uLnTx/>
                <a:uFillTx/>
                <a:latin typeface="+mj-lt"/>
                <a:ea typeface="+mj-ea"/>
                <a:cs typeface="+mj-cs"/>
                <a:sym typeface="+mj-lt"/>
              </a:defRPr>
            </a:lvl1pPr>
          </a:lstStyle>
          <a:p>
            <a:r>
              <a:rPr lang="en-AU" sz="2800" b="1" dirty="0">
                <a:solidFill>
                  <a:schemeClr val="bg1"/>
                </a:solidFill>
                <a:latin typeface="Arial Nova" panose="020B0504020202020204" pitchFamily="34" charset="0"/>
              </a:rPr>
              <a:t>$</a:t>
            </a:r>
          </a:p>
        </p:txBody>
      </p:sp>
      <p:pic>
        <p:nvPicPr>
          <p:cNvPr id="28" name="Graphic 27">
            <a:extLst>
              <a:ext uri="{FF2B5EF4-FFF2-40B4-BE49-F238E27FC236}">
                <a16:creationId xmlns:a16="http://schemas.microsoft.com/office/drawing/2014/main" id="{FEC13A06-E18D-44CF-850E-62DF5CAB904B}"/>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6325" y="3543203"/>
            <a:ext cx="432757" cy="432757"/>
          </a:xfrm>
          <a:prstGeom prst="rect">
            <a:avLst/>
          </a:prstGeom>
        </p:spPr>
      </p:pic>
    </p:spTree>
    <p:extLst>
      <p:ext uri="{BB962C8B-B14F-4D97-AF65-F5344CB8AC3E}">
        <p14:creationId xmlns:p14="http://schemas.microsoft.com/office/powerpoint/2010/main" val="254191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4E7F7EA-2F45-4754-A325-13C9CFBDF809}"/>
              </a:ext>
            </a:extLst>
          </p:cNvPr>
          <p:cNvSpPr>
            <a:spLocks noGrp="1"/>
          </p:cNvSpPr>
          <p:nvPr>
            <p:ph type="title"/>
          </p:nvPr>
        </p:nvSpPr>
        <p:spPr/>
        <p:txBody>
          <a:bodyPr/>
          <a:lstStyle/>
          <a:p>
            <a:r>
              <a:rPr lang="en-AU" dirty="0"/>
              <a:t>NEST caseload over time</a:t>
            </a:r>
          </a:p>
        </p:txBody>
      </p:sp>
      <p:sp>
        <p:nvSpPr>
          <p:cNvPr id="8" name="TextBox 7">
            <a:extLst>
              <a:ext uri="{FF2B5EF4-FFF2-40B4-BE49-F238E27FC236}">
                <a16:creationId xmlns:a16="http://schemas.microsoft.com/office/drawing/2014/main" id="{B5202782-F268-4877-A1E1-C8FE370EA1E8}"/>
              </a:ext>
            </a:extLst>
          </p:cNvPr>
          <p:cNvSpPr txBox="1"/>
          <p:nvPr/>
        </p:nvSpPr>
        <p:spPr>
          <a:xfrm>
            <a:off x="6154756" y="4668258"/>
            <a:ext cx="1943816" cy="261610"/>
          </a:xfrm>
          <a:prstGeom prst="rect">
            <a:avLst/>
          </a:prstGeom>
          <a:noFill/>
        </p:spPr>
        <p:txBody>
          <a:bodyPr wrap="square" rtlCol="0">
            <a:spAutoFit/>
          </a:bodyPr>
          <a:lstStyle/>
          <a:p>
            <a:pPr algn="r"/>
            <a:r>
              <a:rPr lang="en-AU" sz="1100" i="1" dirty="0">
                <a:solidFill>
                  <a:schemeClr val="tx1">
                    <a:lumMod val="50000"/>
                    <a:lumOff val="50000"/>
                  </a:schemeClr>
                </a:solidFill>
              </a:rPr>
              <a:t>Data as at 30 April 2021</a:t>
            </a:r>
          </a:p>
        </p:txBody>
      </p:sp>
      <p:graphicFrame>
        <p:nvGraphicFramePr>
          <p:cNvPr id="6" name="Chart 5" descr="Caseload trends from late 2020 have continued into 2021, with the Digital Services caseload reducing in size. &#10;The Enhanced Services caseload has also shrunk but at a slower rate. &#10;">
            <a:extLst>
              <a:ext uri="{FF2B5EF4-FFF2-40B4-BE49-F238E27FC236}">
                <a16:creationId xmlns:a16="http://schemas.microsoft.com/office/drawing/2014/main" id="{2047DD22-5725-4BD3-9E64-F265B9E578F2}"/>
              </a:ext>
            </a:extLst>
          </p:cNvPr>
          <p:cNvGraphicFramePr>
            <a:graphicFrameLocks/>
          </p:cNvGraphicFramePr>
          <p:nvPr>
            <p:extLst>
              <p:ext uri="{D42A27DB-BD31-4B8C-83A1-F6EECF244321}">
                <p14:modId xmlns:p14="http://schemas.microsoft.com/office/powerpoint/2010/main" val="2429399037"/>
              </p:ext>
            </p:extLst>
          </p:nvPr>
        </p:nvGraphicFramePr>
        <p:xfrm>
          <a:off x="611560" y="1176915"/>
          <a:ext cx="7560440" cy="33575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37386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74B86B42-D838-4D25-858D-BA2B245CABE7}"/>
              </a:ext>
              <a:ext uri="{C183D7F6-B498-43B3-948B-1728B52AA6E4}">
                <adec:decorative xmlns:adec="http://schemas.microsoft.com/office/drawing/2017/decorative" val="1"/>
              </a:ext>
            </a:extLst>
          </p:cNvPr>
          <p:cNvSpPr/>
          <p:nvPr/>
        </p:nvSpPr>
        <p:spPr>
          <a:xfrm>
            <a:off x="782424" y="3172371"/>
            <a:ext cx="7569723" cy="1245612"/>
          </a:xfrm>
          <a:prstGeom prst="roundRect">
            <a:avLst>
              <a:gd name="adj" fmla="val 5168"/>
            </a:avLst>
          </a:prstGeom>
          <a:solidFill>
            <a:schemeClr val="bg1"/>
          </a:solidFill>
          <a:ln>
            <a:noFill/>
          </a:ln>
          <a:effectLst>
            <a:outerShdw blurRad="114300" dist="50800" dir="18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7" name="Rectangle: Rounded Corners 6">
            <a:extLst>
              <a:ext uri="{FF2B5EF4-FFF2-40B4-BE49-F238E27FC236}">
                <a16:creationId xmlns:a16="http://schemas.microsoft.com/office/drawing/2014/main" id="{F8DAA733-906D-4E4E-A414-E187C41FE040}"/>
              </a:ext>
              <a:ext uri="{C183D7F6-B498-43B3-948B-1728B52AA6E4}">
                <adec:decorative xmlns:adec="http://schemas.microsoft.com/office/drawing/2017/decorative" val="1"/>
              </a:ext>
            </a:extLst>
          </p:cNvPr>
          <p:cNvSpPr/>
          <p:nvPr/>
        </p:nvSpPr>
        <p:spPr>
          <a:xfrm>
            <a:off x="782424" y="1799246"/>
            <a:ext cx="7569723" cy="1245612"/>
          </a:xfrm>
          <a:prstGeom prst="roundRect">
            <a:avLst>
              <a:gd name="adj" fmla="val 5168"/>
            </a:avLst>
          </a:prstGeom>
          <a:solidFill>
            <a:schemeClr val="bg1"/>
          </a:solidFill>
          <a:ln>
            <a:noFill/>
          </a:ln>
          <a:effectLst>
            <a:outerShdw blurRad="114300" dist="50800" dir="18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6" name="Title 5"/>
          <p:cNvSpPr>
            <a:spLocks noGrp="1"/>
          </p:cNvSpPr>
          <p:nvPr>
            <p:ph type="title"/>
          </p:nvPr>
        </p:nvSpPr>
        <p:spPr/>
        <p:txBody>
          <a:bodyPr>
            <a:normAutofit/>
          </a:bodyPr>
          <a:lstStyle/>
          <a:p>
            <a:r>
              <a:rPr lang="en-US" sz="2400" b="1" dirty="0">
                <a:latin typeface="Arial Nova" panose="020B0504020202020204" pitchFamily="34" charset="0"/>
              </a:rPr>
              <a:t>Exits from the NEST</a:t>
            </a:r>
          </a:p>
        </p:txBody>
      </p:sp>
      <p:sp>
        <p:nvSpPr>
          <p:cNvPr id="10" name="TextBox 9">
            <a:extLst>
              <a:ext uri="{FF2B5EF4-FFF2-40B4-BE49-F238E27FC236}">
                <a16:creationId xmlns:a16="http://schemas.microsoft.com/office/drawing/2014/main" id="{0FBA97EB-998B-4E94-AF65-041DC220B2CE}"/>
              </a:ext>
            </a:extLst>
          </p:cNvPr>
          <p:cNvSpPr txBox="1"/>
          <p:nvPr/>
        </p:nvSpPr>
        <p:spPr>
          <a:xfrm>
            <a:off x="6154756" y="4668258"/>
            <a:ext cx="1943816" cy="261610"/>
          </a:xfrm>
          <a:prstGeom prst="rect">
            <a:avLst/>
          </a:prstGeom>
          <a:noFill/>
        </p:spPr>
        <p:txBody>
          <a:bodyPr wrap="square" rtlCol="0">
            <a:spAutoFit/>
          </a:bodyPr>
          <a:lstStyle/>
          <a:p>
            <a:pPr algn="r"/>
            <a:r>
              <a:rPr lang="en-AU" sz="1100" i="1" dirty="0">
                <a:solidFill>
                  <a:schemeClr val="tx1">
                    <a:lumMod val="50000"/>
                    <a:lumOff val="50000"/>
                  </a:schemeClr>
                </a:solidFill>
              </a:rPr>
              <a:t>Data as at 30 April 2021</a:t>
            </a:r>
          </a:p>
        </p:txBody>
      </p:sp>
      <p:graphicFrame>
        <p:nvGraphicFramePr>
          <p:cNvPr id="8" name="Chart 7" descr="Bar charts to show the exits from the New Employment Services Trial. 54,709 job seekers have exited from the Trial since it commenced. 62% of these exits (33,928) have been from Digital Services, and 38% (20,781) are from Enhanced Services. &#10;">
            <a:extLst>
              <a:ext uri="{FF2B5EF4-FFF2-40B4-BE49-F238E27FC236}">
                <a16:creationId xmlns:a16="http://schemas.microsoft.com/office/drawing/2014/main" id="{B4FEC573-EF26-400B-911D-4841C679A2C8}"/>
              </a:ext>
            </a:extLst>
          </p:cNvPr>
          <p:cNvGraphicFramePr>
            <a:graphicFrameLocks/>
          </p:cNvGraphicFramePr>
          <p:nvPr>
            <p:extLst>
              <p:ext uri="{D42A27DB-BD31-4B8C-83A1-F6EECF244321}">
                <p14:modId xmlns:p14="http://schemas.microsoft.com/office/powerpoint/2010/main" val="4262146612"/>
              </p:ext>
            </p:extLst>
          </p:nvPr>
        </p:nvGraphicFramePr>
        <p:xfrm>
          <a:off x="743285" y="1342975"/>
          <a:ext cx="7608862" cy="32718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49912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C81E3-7272-455D-9845-0F9ED0CE6D22}"/>
              </a:ext>
            </a:extLst>
          </p:cNvPr>
          <p:cNvSpPr>
            <a:spLocks noGrp="1"/>
          </p:cNvSpPr>
          <p:nvPr>
            <p:ph type="title"/>
          </p:nvPr>
        </p:nvSpPr>
        <p:spPr/>
        <p:txBody>
          <a:bodyPr>
            <a:normAutofit/>
          </a:bodyPr>
          <a:lstStyle/>
          <a:p>
            <a:r>
              <a:rPr lang="en-AU" sz="2400" b="1" dirty="0">
                <a:latin typeface="Arial Nova" panose="020B0504020202020204" pitchFamily="34" charset="0"/>
              </a:rPr>
              <a:t>Enhanced Services Outcomes claimed in NEST</a:t>
            </a:r>
          </a:p>
        </p:txBody>
      </p:sp>
      <p:sp>
        <p:nvSpPr>
          <p:cNvPr id="6" name="TextBox 5">
            <a:extLst>
              <a:ext uri="{FF2B5EF4-FFF2-40B4-BE49-F238E27FC236}">
                <a16:creationId xmlns:a16="http://schemas.microsoft.com/office/drawing/2014/main" id="{94A4FDD0-DEA0-42B8-A9DA-6AEC1358E684}"/>
              </a:ext>
            </a:extLst>
          </p:cNvPr>
          <p:cNvSpPr txBox="1"/>
          <p:nvPr/>
        </p:nvSpPr>
        <p:spPr>
          <a:xfrm>
            <a:off x="6154756" y="4668258"/>
            <a:ext cx="1943816" cy="261610"/>
          </a:xfrm>
          <a:prstGeom prst="rect">
            <a:avLst/>
          </a:prstGeom>
          <a:noFill/>
        </p:spPr>
        <p:txBody>
          <a:bodyPr wrap="square" rtlCol="0">
            <a:spAutoFit/>
          </a:bodyPr>
          <a:lstStyle/>
          <a:p>
            <a:pPr algn="r"/>
            <a:r>
              <a:rPr lang="en-AU" sz="1100" i="1" dirty="0">
                <a:solidFill>
                  <a:schemeClr val="tx1">
                    <a:lumMod val="50000"/>
                    <a:lumOff val="50000"/>
                  </a:schemeClr>
                </a:solidFill>
              </a:rPr>
              <a:t>Data as at 30 April 2021</a:t>
            </a:r>
          </a:p>
        </p:txBody>
      </p:sp>
      <p:graphicFrame>
        <p:nvGraphicFramePr>
          <p:cNvPr id="5" name="Chart 4" descr="Shows quantitative data in terms of outcomes claimed by Enhanced Services Providers in NEST. To date NEST providers have claimed the following in outcomes:&#10;8,208 4 Week Outcomes&#10;6,063 12 Week Outcomes&#10;2,560 26 Week Outcomes. &#10;">
            <a:extLst>
              <a:ext uri="{FF2B5EF4-FFF2-40B4-BE49-F238E27FC236}">
                <a16:creationId xmlns:a16="http://schemas.microsoft.com/office/drawing/2014/main" id="{8BC3E7E0-4922-4F1C-943D-01B5C51D674A}"/>
              </a:ext>
            </a:extLst>
          </p:cNvPr>
          <p:cNvGraphicFramePr>
            <a:graphicFrameLocks/>
          </p:cNvGraphicFramePr>
          <p:nvPr>
            <p:extLst>
              <p:ext uri="{D42A27DB-BD31-4B8C-83A1-F6EECF244321}">
                <p14:modId xmlns:p14="http://schemas.microsoft.com/office/powerpoint/2010/main" val="3467461979"/>
              </p:ext>
            </p:extLst>
          </p:nvPr>
        </p:nvGraphicFramePr>
        <p:xfrm>
          <a:off x="719772" y="1153949"/>
          <a:ext cx="7704456" cy="338764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8811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5">
            <a:extLst>
              <a:ext uri="{FF2B5EF4-FFF2-40B4-BE49-F238E27FC236}">
                <a16:creationId xmlns:a16="http://schemas.microsoft.com/office/drawing/2014/main" id="{D071AC87-55CB-470A-85DD-C16F18C9B83B}"/>
              </a:ext>
              <a:ext uri="{C183D7F6-B498-43B3-948B-1728B52AA6E4}">
                <adec:decorative xmlns:adec="http://schemas.microsoft.com/office/drawing/2017/decorative" val="1"/>
              </a:ext>
            </a:extLst>
          </p:cNvPr>
          <p:cNvSpPr/>
          <p:nvPr/>
        </p:nvSpPr>
        <p:spPr>
          <a:xfrm>
            <a:off x="4827242" y="2107096"/>
            <a:ext cx="792579" cy="739500"/>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dirty="0">
              <a:solidFill>
                <a:srgbClr val="000000"/>
              </a:solidFill>
              <a:latin typeface="Arial"/>
            </a:endParaRPr>
          </a:p>
        </p:txBody>
      </p:sp>
      <p:sp>
        <p:nvSpPr>
          <p:cNvPr id="8" name="Oval 7">
            <a:extLst>
              <a:ext uri="{FF2B5EF4-FFF2-40B4-BE49-F238E27FC236}">
                <a16:creationId xmlns:a16="http://schemas.microsoft.com/office/drawing/2014/main" id="{31C1A06C-04BD-41B7-AE01-9D0C24B87F28}"/>
              </a:ext>
              <a:ext uri="{C183D7F6-B498-43B3-948B-1728B52AA6E4}">
                <adec:decorative xmlns:adec="http://schemas.microsoft.com/office/drawing/2017/decorative" val="1"/>
              </a:ext>
            </a:extLst>
          </p:cNvPr>
          <p:cNvSpPr/>
          <p:nvPr/>
        </p:nvSpPr>
        <p:spPr>
          <a:xfrm>
            <a:off x="759963" y="2126729"/>
            <a:ext cx="792579" cy="739500"/>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dirty="0">
              <a:solidFill>
                <a:srgbClr val="000000"/>
              </a:solidFill>
              <a:latin typeface="Arial"/>
            </a:endParaRPr>
          </a:p>
        </p:txBody>
      </p:sp>
      <p:sp>
        <p:nvSpPr>
          <p:cNvPr id="9" name="Oval 8">
            <a:extLst>
              <a:ext uri="{FF2B5EF4-FFF2-40B4-BE49-F238E27FC236}">
                <a16:creationId xmlns:a16="http://schemas.microsoft.com/office/drawing/2014/main" id="{7F29E9BD-027C-4D7B-B4A0-80D7F3C87A81}"/>
              </a:ext>
              <a:ext uri="{C183D7F6-B498-43B3-948B-1728B52AA6E4}">
                <adec:decorative xmlns:adec="http://schemas.microsoft.com/office/drawing/2017/decorative" val="1"/>
              </a:ext>
            </a:extLst>
          </p:cNvPr>
          <p:cNvSpPr/>
          <p:nvPr/>
        </p:nvSpPr>
        <p:spPr>
          <a:xfrm>
            <a:off x="4823858" y="3404811"/>
            <a:ext cx="792579" cy="739500"/>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dirty="0">
              <a:solidFill>
                <a:srgbClr val="000000"/>
              </a:solidFill>
              <a:latin typeface="Arial"/>
            </a:endParaRPr>
          </a:p>
        </p:txBody>
      </p:sp>
      <p:sp>
        <p:nvSpPr>
          <p:cNvPr id="10" name="Oval 9">
            <a:extLst>
              <a:ext uri="{FF2B5EF4-FFF2-40B4-BE49-F238E27FC236}">
                <a16:creationId xmlns:a16="http://schemas.microsoft.com/office/drawing/2014/main" id="{F2E26E5A-8E6B-49A1-8406-F364D7E0A1DE}"/>
              </a:ext>
              <a:ext uri="{C183D7F6-B498-43B3-948B-1728B52AA6E4}">
                <adec:decorative xmlns:adec="http://schemas.microsoft.com/office/drawing/2017/decorative" val="1"/>
              </a:ext>
            </a:extLst>
          </p:cNvPr>
          <p:cNvSpPr/>
          <p:nvPr/>
        </p:nvSpPr>
        <p:spPr>
          <a:xfrm>
            <a:off x="759963" y="3430030"/>
            <a:ext cx="792579" cy="739500"/>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dirty="0">
              <a:solidFill>
                <a:srgbClr val="000000"/>
              </a:solidFill>
              <a:latin typeface="Arial"/>
            </a:endParaRPr>
          </a:p>
        </p:txBody>
      </p:sp>
      <p:sp>
        <p:nvSpPr>
          <p:cNvPr id="2" name="Title 1">
            <a:extLst>
              <a:ext uri="{FF2B5EF4-FFF2-40B4-BE49-F238E27FC236}">
                <a16:creationId xmlns:a16="http://schemas.microsoft.com/office/drawing/2014/main" id="{367470CF-89A8-4CA9-80FA-A5AAF2CE022F}"/>
              </a:ext>
            </a:extLst>
          </p:cNvPr>
          <p:cNvSpPr>
            <a:spLocks noGrp="1"/>
          </p:cNvSpPr>
          <p:nvPr>
            <p:ph type="title" idx="4294967295"/>
          </p:nvPr>
        </p:nvSpPr>
        <p:spPr>
          <a:xfrm>
            <a:off x="516130" y="603476"/>
            <a:ext cx="7886700" cy="993775"/>
          </a:xfrm>
        </p:spPr>
        <p:txBody>
          <a:bodyPr/>
          <a:lstStyle/>
          <a:p>
            <a:r>
              <a:rPr lang="en-AU" sz="2400" b="1" dirty="0">
                <a:latin typeface="Arial Nova" panose="020B0504020202020204" pitchFamily="34" charset="0"/>
              </a:rPr>
              <a:t>NEST Evaluation Findings</a:t>
            </a:r>
            <a:br>
              <a:rPr lang="en-AU" sz="2400" b="1" dirty="0">
                <a:latin typeface="Arial Nova" panose="020B0504020202020204" pitchFamily="34" charset="0"/>
              </a:rPr>
            </a:br>
            <a:r>
              <a:rPr lang="en-AU" sz="2400" dirty="0">
                <a:latin typeface="Arial Nova" panose="020B0504020202020204" pitchFamily="34" charset="0"/>
              </a:rPr>
              <a:t>Perspectives from initial evaluation fieldwork</a:t>
            </a:r>
          </a:p>
        </p:txBody>
      </p:sp>
      <p:sp>
        <p:nvSpPr>
          <p:cNvPr id="11" name="TextBox 10">
            <a:extLst>
              <a:ext uri="{FF2B5EF4-FFF2-40B4-BE49-F238E27FC236}">
                <a16:creationId xmlns:a16="http://schemas.microsoft.com/office/drawing/2014/main" id="{150032DB-C5A5-435C-A4D7-A5460B6BA9DE}"/>
              </a:ext>
            </a:extLst>
          </p:cNvPr>
          <p:cNvSpPr txBox="1"/>
          <p:nvPr/>
        </p:nvSpPr>
        <p:spPr>
          <a:xfrm flipH="1">
            <a:off x="1755886" y="2232939"/>
            <a:ext cx="3033151" cy="536814"/>
          </a:xfrm>
          <a:prstGeom prst="rect">
            <a:avLst/>
          </a:prstGeom>
          <a:noFill/>
        </p:spPr>
        <p:txBody>
          <a:bodyPr wrap="square" rtlCol="0">
            <a:spAutoFit/>
          </a:bodyPr>
          <a:lstStyle/>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A longitudinal study of NEST</a:t>
            </a:r>
          </a:p>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participants</a:t>
            </a:r>
          </a:p>
        </p:txBody>
      </p:sp>
      <p:sp>
        <p:nvSpPr>
          <p:cNvPr id="12" name="TextBox 11">
            <a:extLst>
              <a:ext uri="{FF2B5EF4-FFF2-40B4-BE49-F238E27FC236}">
                <a16:creationId xmlns:a16="http://schemas.microsoft.com/office/drawing/2014/main" id="{0A839562-762C-4622-8DF2-71BEEFDE0B9C}"/>
              </a:ext>
            </a:extLst>
          </p:cNvPr>
          <p:cNvSpPr txBox="1"/>
          <p:nvPr/>
        </p:nvSpPr>
        <p:spPr>
          <a:xfrm flipH="1">
            <a:off x="1762881" y="3430030"/>
            <a:ext cx="3033151" cy="767646"/>
          </a:xfrm>
          <a:prstGeom prst="rect">
            <a:avLst/>
          </a:prstGeom>
          <a:noFill/>
        </p:spPr>
        <p:txBody>
          <a:bodyPr wrap="square" rtlCol="0">
            <a:spAutoFit/>
          </a:bodyPr>
          <a:lstStyle/>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Regular research with providers,</a:t>
            </a:r>
          </a:p>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departmental account managers</a:t>
            </a:r>
          </a:p>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and other stakeholders</a:t>
            </a:r>
          </a:p>
        </p:txBody>
      </p:sp>
      <p:sp>
        <p:nvSpPr>
          <p:cNvPr id="13" name="TextBox 12">
            <a:extLst>
              <a:ext uri="{FF2B5EF4-FFF2-40B4-BE49-F238E27FC236}">
                <a16:creationId xmlns:a16="http://schemas.microsoft.com/office/drawing/2014/main" id="{924A9068-D0BE-4FD0-ABE3-0BB58828E6AF}"/>
              </a:ext>
            </a:extLst>
          </p:cNvPr>
          <p:cNvSpPr txBox="1"/>
          <p:nvPr/>
        </p:nvSpPr>
        <p:spPr>
          <a:xfrm flipH="1">
            <a:off x="5783696" y="2093023"/>
            <a:ext cx="3033151" cy="767646"/>
          </a:xfrm>
          <a:prstGeom prst="rect">
            <a:avLst/>
          </a:prstGeom>
          <a:noFill/>
        </p:spPr>
        <p:txBody>
          <a:bodyPr wrap="square" rtlCol="0">
            <a:spAutoFit/>
          </a:bodyPr>
          <a:lstStyle/>
          <a:p>
            <a:pPr>
              <a:lnSpc>
                <a:spcPts val="1800"/>
              </a:lnSpc>
              <a:defRPr/>
            </a:pPr>
            <a:r>
              <a:rPr lang="en-AU" sz="1400" b="1" dirty="0">
                <a:solidFill>
                  <a:schemeClr val="bg1"/>
                </a:solidFill>
                <a:latin typeface="Arial Nova Cond" panose="020B0506020202020204" pitchFamily="34" charset="0"/>
                <a:cs typeface="Segoe UI Light" panose="020B0502040204020203" pitchFamily="34" charset="0"/>
              </a:rPr>
              <a:t>Quantitative analysis involving assessing outcomes in NEST regions against those in comparable regions </a:t>
            </a:r>
          </a:p>
        </p:txBody>
      </p:sp>
      <p:sp>
        <p:nvSpPr>
          <p:cNvPr id="14" name="TextBox 13">
            <a:extLst>
              <a:ext uri="{FF2B5EF4-FFF2-40B4-BE49-F238E27FC236}">
                <a16:creationId xmlns:a16="http://schemas.microsoft.com/office/drawing/2014/main" id="{FDA48E7D-E155-426A-A667-27BD17D6B0FA}"/>
              </a:ext>
            </a:extLst>
          </p:cNvPr>
          <p:cNvSpPr txBox="1"/>
          <p:nvPr/>
        </p:nvSpPr>
        <p:spPr>
          <a:xfrm flipH="1">
            <a:off x="5783696" y="3536834"/>
            <a:ext cx="3033151" cy="536814"/>
          </a:xfrm>
          <a:prstGeom prst="rect">
            <a:avLst/>
          </a:prstGeom>
          <a:noFill/>
        </p:spPr>
        <p:txBody>
          <a:bodyPr wrap="square" rtlCol="0">
            <a:spAutoFit/>
          </a:bodyPr>
          <a:lstStyle/>
          <a:p>
            <a:pPr>
              <a:lnSpc>
                <a:spcPts val="1800"/>
              </a:lnSpc>
              <a:defRPr/>
            </a:pPr>
            <a:r>
              <a:rPr lang="en-AU" sz="1400" b="1" dirty="0">
                <a:solidFill>
                  <a:schemeClr val="bg1"/>
                </a:solidFill>
                <a:latin typeface="Arial Nova Cond" panose="020B0506020202020204" pitchFamily="34" charset="0"/>
                <a:cs typeface="Segoe UI Light" panose="020B0502040204020203" pitchFamily="34" charset="0"/>
              </a:rPr>
              <a:t>Ongoing program monitoring, including some surveys (PPM)</a:t>
            </a:r>
          </a:p>
        </p:txBody>
      </p:sp>
      <p:pic>
        <p:nvPicPr>
          <p:cNvPr id="19" name="Graphic 18">
            <a:extLst>
              <a:ext uri="{FF2B5EF4-FFF2-40B4-BE49-F238E27FC236}">
                <a16:creationId xmlns:a16="http://schemas.microsoft.com/office/drawing/2014/main" id="{27CEDA19-5DB4-48FE-94BF-F89C66908111}"/>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4467" y="2271690"/>
            <a:ext cx="432757" cy="432757"/>
          </a:xfrm>
          <a:prstGeom prst="rect">
            <a:avLst/>
          </a:prstGeom>
        </p:spPr>
      </p:pic>
      <p:pic>
        <p:nvPicPr>
          <p:cNvPr id="20" name="Graphic 19">
            <a:extLst>
              <a:ext uri="{FF2B5EF4-FFF2-40B4-BE49-F238E27FC236}">
                <a16:creationId xmlns:a16="http://schemas.microsoft.com/office/drawing/2014/main" id="{83588B2E-3A62-4325-A88D-3922A17535C2}"/>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46455" y="3597475"/>
            <a:ext cx="432757" cy="432757"/>
          </a:xfrm>
          <a:prstGeom prst="rect">
            <a:avLst/>
          </a:prstGeom>
        </p:spPr>
      </p:pic>
      <p:pic>
        <p:nvPicPr>
          <p:cNvPr id="21" name="Graphic 20">
            <a:extLst>
              <a:ext uri="{FF2B5EF4-FFF2-40B4-BE49-F238E27FC236}">
                <a16:creationId xmlns:a16="http://schemas.microsoft.com/office/drawing/2014/main" id="{639ED83E-E6C1-4A2C-82FE-750FEC2F0B79}"/>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33638" y="2305726"/>
            <a:ext cx="393415" cy="393415"/>
          </a:xfrm>
          <a:prstGeom prst="rect">
            <a:avLst/>
          </a:prstGeom>
        </p:spPr>
      </p:pic>
      <p:pic>
        <p:nvPicPr>
          <p:cNvPr id="22" name="Graphic 21">
            <a:extLst>
              <a:ext uri="{FF2B5EF4-FFF2-40B4-BE49-F238E27FC236}">
                <a16:creationId xmlns:a16="http://schemas.microsoft.com/office/drawing/2014/main" id="{1FA70012-F5B8-44C1-B86D-D9CC95938FDA}"/>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05096" y="3551347"/>
            <a:ext cx="432757" cy="432757"/>
          </a:xfrm>
          <a:prstGeom prst="rect">
            <a:avLst/>
          </a:prstGeom>
        </p:spPr>
      </p:pic>
    </p:spTree>
    <p:extLst>
      <p:ext uri="{BB962C8B-B14F-4D97-AF65-F5344CB8AC3E}">
        <p14:creationId xmlns:p14="http://schemas.microsoft.com/office/powerpoint/2010/main" val="2633190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D228C7-3573-41AB-890E-582CA669A19C}"/>
              </a:ext>
            </a:extLst>
          </p:cNvPr>
          <p:cNvSpPr>
            <a:spLocks noGrp="1"/>
          </p:cNvSpPr>
          <p:nvPr>
            <p:ph type="title"/>
          </p:nvPr>
        </p:nvSpPr>
        <p:spPr>
          <a:xfrm>
            <a:off x="467832" y="349200"/>
            <a:ext cx="7533168" cy="993775"/>
          </a:xfrm>
        </p:spPr>
        <p:txBody>
          <a:bodyPr/>
          <a:lstStyle/>
          <a:p>
            <a:r>
              <a:rPr lang="en-AU" dirty="0"/>
              <a:t>NEST Evaluation Findings: </a:t>
            </a:r>
            <a:br>
              <a:rPr lang="en-AU" dirty="0"/>
            </a:br>
            <a:r>
              <a:rPr lang="en-AU" b="0" dirty="0"/>
              <a:t>What is working well?</a:t>
            </a:r>
          </a:p>
        </p:txBody>
      </p:sp>
      <p:sp>
        <p:nvSpPr>
          <p:cNvPr id="12" name="Rectangle 11">
            <a:extLst>
              <a:ext uri="{FF2B5EF4-FFF2-40B4-BE49-F238E27FC236}">
                <a16:creationId xmlns:a16="http://schemas.microsoft.com/office/drawing/2014/main" id="{4BABE733-ED1A-4DB0-AB6B-56F868EB42FF}"/>
              </a:ext>
            </a:extLst>
          </p:cNvPr>
          <p:cNvSpPr/>
          <p:nvPr/>
        </p:nvSpPr>
        <p:spPr>
          <a:xfrm>
            <a:off x="565222" y="2534856"/>
            <a:ext cx="4092946" cy="1619418"/>
          </a:xfrm>
          <a:prstGeom prst="rect">
            <a:avLst/>
          </a:prstGeom>
        </p:spPr>
        <p:txBody>
          <a:bodyPr wrap="square">
            <a:spAutoFit/>
          </a:bodyPr>
          <a:lstStyle/>
          <a:p>
            <a:pPr marL="285750" indent="-285750">
              <a:lnSpc>
                <a:spcPct val="120000"/>
              </a:lnSpc>
              <a:buFont typeface="Arial" panose="020B0604020202020204" pitchFamily="34" charset="0"/>
              <a:buChar char="•"/>
            </a:pPr>
            <a:r>
              <a:rPr lang="en-AU" sz="1400" dirty="0">
                <a:latin typeface="Arial Nova Cond" panose="020B0506020202020204" pitchFamily="34" charset="0"/>
              </a:rPr>
              <a:t>Flexibility underpinning the NEST model enabled providers to quickly change their engagement approaches during Covid-19. </a:t>
            </a:r>
          </a:p>
          <a:p>
            <a:pPr marL="285750" indent="-285750">
              <a:lnSpc>
                <a:spcPct val="120000"/>
              </a:lnSpc>
              <a:buFont typeface="Arial" panose="020B0604020202020204" pitchFamily="34" charset="0"/>
              <a:buChar char="•"/>
            </a:pPr>
            <a:endParaRPr lang="en-AU" sz="1400" dirty="0">
              <a:latin typeface="Arial Nova Cond" panose="020B0506020202020204" pitchFamily="34" charset="0"/>
            </a:endParaRPr>
          </a:p>
          <a:p>
            <a:pPr marL="285750" indent="-285750">
              <a:lnSpc>
                <a:spcPct val="120000"/>
              </a:lnSpc>
              <a:buFont typeface="Arial" panose="020B0604020202020204" pitchFamily="34" charset="0"/>
              <a:buChar char="•"/>
            </a:pPr>
            <a:r>
              <a:rPr lang="en-AU" sz="1400" dirty="0">
                <a:latin typeface="Arial Nova Cond" panose="020B0506020202020204" pitchFamily="34" charset="0"/>
              </a:rPr>
              <a:t>Hybrid servicing has increased engagement by reducing barriers to participation. </a:t>
            </a:r>
          </a:p>
        </p:txBody>
      </p:sp>
      <p:grpSp>
        <p:nvGrpSpPr>
          <p:cNvPr id="2" name="Group 1">
            <a:extLst>
              <a:ext uri="{FF2B5EF4-FFF2-40B4-BE49-F238E27FC236}">
                <a16:creationId xmlns:a16="http://schemas.microsoft.com/office/drawing/2014/main" id="{EC8FBE3E-5E5C-40CC-B55D-4545B900337F}"/>
              </a:ext>
              <a:ext uri="{C183D7F6-B498-43B3-948B-1728B52AA6E4}">
                <adec:decorative xmlns:adec="http://schemas.microsoft.com/office/drawing/2017/decorative" val="1"/>
              </a:ext>
            </a:extLst>
          </p:cNvPr>
          <p:cNvGrpSpPr/>
          <p:nvPr/>
        </p:nvGrpSpPr>
        <p:grpSpPr>
          <a:xfrm>
            <a:off x="2725085" y="1476268"/>
            <a:ext cx="3501461" cy="756906"/>
            <a:chOff x="2725085" y="1327678"/>
            <a:chExt cx="3501461" cy="756906"/>
          </a:xfrm>
        </p:grpSpPr>
        <p:grpSp>
          <p:nvGrpSpPr>
            <p:cNvPr id="17" name="Group 16">
              <a:extLst>
                <a:ext uri="{FF2B5EF4-FFF2-40B4-BE49-F238E27FC236}">
                  <a16:creationId xmlns:a16="http://schemas.microsoft.com/office/drawing/2014/main" id="{661F6D6C-EE2E-4C17-8580-755DD2059E73}"/>
                </a:ext>
              </a:extLst>
            </p:cNvPr>
            <p:cNvGrpSpPr/>
            <p:nvPr/>
          </p:nvGrpSpPr>
          <p:grpSpPr>
            <a:xfrm>
              <a:off x="2725085" y="1327678"/>
              <a:ext cx="3501461" cy="756906"/>
              <a:chOff x="2703241" y="1268973"/>
              <a:chExt cx="3501461" cy="1182567"/>
            </a:xfrm>
          </p:grpSpPr>
          <p:sp>
            <p:nvSpPr>
              <p:cNvPr id="14" name="Rectangle: Rounded Corners 13">
                <a:extLst>
                  <a:ext uri="{FF2B5EF4-FFF2-40B4-BE49-F238E27FC236}">
                    <a16:creationId xmlns:a16="http://schemas.microsoft.com/office/drawing/2014/main" id="{D1935133-7643-40B3-A8C9-1AD368D8FBC3}"/>
                  </a:ext>
                </a:extLst>
              </p:cNvPr>
              <p:cNvSpPr/>
              <p:nvPr/>
            </p:nvSpPr>
            <p:spPr>
              <a:xfrm rot="10800000">
                <a:off x="2703242" y="1268973"/>
                <a:ext cx="3501460" cy="1182567"/>
              </a:xfrm>
              <a:prstGeom prst="roundRect">
                <a:avLst>
                  <a:gd name="adj" fmla="val 5168"/>
                </a:avLst>
              </a:prstGeom>
              <a:solidFill>
                <a:schemeClr val="bg1"/>
              </a:solidFill>
              <a:ln>
                <a:noFill/>
              </a:ln>
              <a:effectLst>
                <a:outerShdw blurRad="635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5" name="Freeform: Shape 14">
                <a:extLst>
                  <a:ext uri="{FF2B5EF4-FFF2-40B4-BE49-F238E27FC236}">
                    <a16:creationId xmlns:a16="http://schemas.microsoft.com/office/drawing/2014/main" id="{2D69EBBB-43A1-451C-BA7A-C69BF4FA9CA8}"/>
                  </a:ext>
                </a:extLst>
              </p:cNvPr>
              <p:cNvSpPr/>
              <p:nvPr/>
            </p:nvSpPr>
            <p:spPr>
              <a:xfrm rot="10800000">
                <a:off x="2703241" y="1268973"/>
                <a:ext cx="76424" cy="1182567"/>
              </a:xfrm>
              <a:custGeom>
                <a:avLst/>
                <a:gdLst>
                  <a:gd name="connsiteX0" fmla="*/ 0 w 225830"/>
                  <a:gd name="connsiteY0" fmla="*/ 0 h 2554926"/>
                  <a:gd name="connsiteX1" fmla="*/ 93791 w 225830"/>
                  <a:gd name="connsiteY1" fmla="*/ 0 h 2554926"/>
                  <a:gd name="connsiteX2" fmla="*/ 225830 w 225830"/>
                  <a:gd name="connsiteY2" fmla="*/ 132039 h 2554926"/>
                  <a:gd name="connsiteX3" fmla="*/ 225830 w 225830"/>
                  <a:gd name="connsiteY3" fmla="*/ 2422887 h 2554926"/>
                  <a:gd name="connsiteX4" fmla="*/ 93791 w 225830"/>
                  <a:gd name="connsiteY4" fmla="*/ 2554926 h 2554926"/>
                  <a:gd name="connsiteX5" fmla="*/ 0 w 225830"/>
                  <a:gd name="connsiteY5" fmla="*/ 2554926 h 255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30" h="2554926">
                    <a:moveTo>
                      <a:pt x="0" y="0"/>
                    </a:moveTo>
                    <a:lnTo>
                      <a:pt x="93791" y="0"/>
                    </a:lnTo>
                    <a:cubicBezTo>
                      <a:pt x="166714" y="0"/>
                      <a:pt x="225830" y="59116"/>
                      <a:pt x="225830" y="132039"/>
                    </a:cubicBezTo>
                    <a:lnTo>
                      <a:pt x="225830" y="2422887"/>
                    </a:lnTo>
                    <a:cubicBezTo>
                      <a:pt x="225830" y="2495810"/>
                      <a:pt x="166714" y="2554926"/>
                      <a:pt x="93791" y="2554926"/>
                    </a:cubicBezTo>
                    <a:lnTo>
                      <a:pt x="0" y="2554926"/>
                    </a:lnTo>
                    <a:close/>
                  </a:path>
                </a:pathLst>
              </a:custGeom>
              <a:solidFill>
                <a:srgbClr val="108E8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grpSp>
        <p:pic>
          <p:nvPicPr>
            <p:cNvPr id="9" name="Graphic 8">
              <a:extLst>
                <a:ext uri="{FF2B5EF4-FFF2-40B4-BE49-F238E27FC236}">
                  <a16:creationId xmlns:a16="http://schemas.microsoft.com/office/drawing/2014/main" id="{0EB86AE1-FE1D-4A30-9D5F-9C5ECB634A3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27002" y="1418131"/>
              <a:ext cx="576000" cy="576000"/>
            </a:xfrm>
            <a:prstGeom prst="rect">
              <a:avLst/>
            </a:prstGeom>
          </p:spPr>
        </p:pic>
        <p:sp>
          <p:nvSpPr>
            <p:cNvPr id="6" name="TextBox 5">
              <a:extLst>
                <a:ext uri="{FF2B5EF4-FFF2-40B4-BE49-F238E27FC236}">
                  <a16:creationId xmlns:a16="http://schemas.microsoft.com/office/drawing/2014/main" id="{8AB2139B-2CC1-4B44-90D7-2B79E3B92E69}"/>
                </a:ext>
              </a:extLst>
            </p:cNvPr>
            <p:cNvSpPr txBox="1"/>
            <p:nvPr/>
          </p:nvSpPr>
          <p:spPr>
            <a:xfrm>
              <a:off x="3634964" y="1497528"/>
              <a:ext cx="2083620" cy="400110"/>
            </a:xfrm>
            <a:prstGeom prst="rect">
              <a:avLst/>
            </a:prstGeom>
            <a:noFill/>
          </p:spPr>
          <p:txBody>
            <a:bodyPr wrap="square" rtlCol="0">
              <a:spAutoFit/>
            </a:bodyPr>
            <a:lstStyle/>
            <a:p>
              <a:pPr algn="ctr">
                <a:spcBef>
                  <a:spcPts val="450"/>
                </a:spcBef>
                <a:spcAft>
                  <a:spcPts val="450"/>
                </a:spcAft>
              </a:pPr>
              <a:r>
                <a:rPr lang="en-US" sz="2000" b="1" dirty="0">
                  <a:solidFill>
                    <a:srgbClr val="108E82"/>
                  </a:solidFill>
                  <a:latin typeface="Arial Nova" panose="020B0504020202020204" pitchFamily="34" charset="0"/>
                </a:rPr>
                <a:t> Flexibility</a:t>
              </a:r>
            </a:p>
          </p:txBody>
        </p:sp>
      </p:grpSp>
      <p:sp>
        <p:nvSpPr>
          <p:cNvPr id="16" name="Rectangle 15">
            <a:extLst>
              <a:ext uri="{FF2B5EF4-FFF2-40B4-BE49-F238E27FC236}">
                <a16:creationId xmlns:a16="http://schemas.microsoft.com/office/drawing/2014/main" id="{253A4AD6-849D-455E-9E7C-1E66A5C04391}"/>
              </a:ext>
            </a:extLst>
          </p:cNvPr>
          <p:cNvSpPr/>
          <p:nvPr/>
        </p:nvSpPr>
        <p:spPr>
          <a:xfrm>
            <a:off x="4658168" y="2461892"/>
            <a:ext cx="3988171" cy="1815882"/>
          </a:xfrm>
          <a:prstGeom prst="rect">
            <a:avLst/>
          </a:prstGeom>
        </p:spPr>
        <p:txBody>
          <a:bodyPr wrap="square">
            <a:spAutoFit/>
          </a:bodyPr>
          <a:lstStyle/>
          <a:p>
            <a:pPr algn="ctr"/>
            <a:r>
              <a:rPr lang="en-AU" sz="1600" i="1" dirty="0">
                <a:solidFill>
                  <a:srgbClr val="0070C0"/>
                </a:solidFill>
              </a:rPr>
              <a:t>… to be really honest, we are really enjoying that flexibility to be able to tailor the activity to the customer rather than, “Next week you’re entering the work experience phase; you need to look at an activity and these are the activities available.” </a:t>
            </a:r>
          </a:p>
          <a:p>
            <a:pPr algn="ctr"/>
            <a:endParaRPr lang="en-AU" sz="1600" dirty="0">
              <a:solidFill>
                <a:srgbClr val="0070C0"/>
              </a:solidFill>
            </a:endParaRPr>
          </a:p>
        </p:txBody>
      </p:sp>
    </p:spTree>
    <p:extLst>
      <p:ext uri="{BB962C8B-B14F-4D97-AF65-F5344CB8AC3E}">
        <p14:creationId xmlns:p14="http://schemas.microsoft.com/office/powerpoint/2010/main" val="42837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D228C7-3573-41AB-890E-582CA669A19C}"/>
              </a:ext>
            </a:extLst>
          </p:cNvPr>
          <p:cNvSpPr>
            <a:spLocks noGrp="1"/>
          </p:cNvSpPr>
          <p:nvPr>
            <p:ph type="title"/>
          </p:nvPr>
        </p:nvSpPr>
        <p:spPr>
          <a:xfrm>
            <a:off x="467832" y="349200"/>
            <a:ext cx="6353555" cy="993775"/>
          </a:xfrm>
        </p:spPr>
        <p:txBody>
          <a:bodyPr/>
          <a:lstStyle/>
          <a:p>
            <a:r>
              <a:rPr lang="en-AU" dirty="0"/>
              <a:t>NEST Evaluation Findings: </a:t>
            </a:r>
            <a:br>
              <a:rPr lang="en-AU" dirty="0"/>
            </a:br>
            <a:r>
              <a:rPr lang="en-AU" b="0" dirty="0"/>
              <a:t>What is working well?</a:t>
            </a:r>
            <a:endParaRPr lang="en-AU" dirty="0"/>
          </a:p>
        </p:txBody>
      </p:sp>
      <p:sp>
        <p:nvSpPr>
          <p:cNvPr id="12" name="Rectangle 11">
            <a:extLst>
              <a:ext uri="{FF2B5EF4-FFF2-40B4-BE49-F238E27FC236}">
                <a16:creationId xmlns:a16="http://schemas.microsoft.com/office/drawing/2014/main" id="{4BABE733-ED1A-4DB0-AB6B-56F868EB42FF}"/>
              </a:ext>
            </a:extLst>
          </p:cNvPr>
          <p:cNvSpPr/>
          <p:nvPr/>
        </p:nvSpPr>
        <p:spPr>
          <a:xfrm>
            <a:off x="579628" y="2542779"/>
            <a:ext cx="4557982" cy="1772793"/>
          </a:xfrm>
          <a:prstGeom prst="rect">
            <a:avLst/>
          </a:prstGeom>
        </p:spPr>
        <p:txBody>
          <a:bodyPr wrap="square">
            <a:spAutoFit/>
          </a:bodyPr>
          <a:lstStyle/>
          <a:p>
            <a:pPr>
              <a:lnSpc>
                <a:spcPct val="120000"/>
              </a:lnSpc>
            </a:pPr>
            <a:r>
              <a:rPr lang="en-AU" sz="1400" b="1" dirty="0">
                <a:latin typeface="Arial Nova Cond" panose="020B0506020202020204" pitchFamily="34" charset="0"/>
              </a:rPr>
              <a:t>Providers tell us they have:</a:t>
            </a:r>
          </a:p>
          <a:p>
            <a:pPr marL="285750" indent="-285750">
              <a:lnSpc>
                <a:spcPct val="120000"/>
              </a:lnSpc>
              <a:buFont typeface="Arial" panose="020B0604020202020204" pitchFamily="34" charset="0"/>
              <a:buChar char="•"/>
            </a:pPr>
            <a:r>
              <a:rPr lang="en-AU" sz="1400" dirty="0">
                <a:latin typeface="Arial Nova Cond" panose="020B0506020202020204" pitchFamily="34" charset="0"/>
              </a:rPr>
              <a:t>‘changed the conversation’ with participants to an engagement focus. </a:t>
            </a:r>
          </a:p>
          <a:p>
            <a:pPr marL="285750" indent="-285750">
              <a:lnSpc>
                <a:spcPct val="120000"/>
              </a:lnSpc>
              <a:buFont typeface="Arial" panose="020B0604020202020204" pitchFamily="34" charset="0"/>
              <a:buChar char="•"/>
            </a:pPr>
            <a:r>
              <a:rPr lang="en-AU" sz="1400" dirty="0">
                <a:latin typeface="Arial Nova Cond" panose="020B0506020202020204" pitchFamily="34" charset="0"/>
              </a:rPr>
              <a:t>increased their employer servicing. </a:t>
            </a:r>
          </a:p>
          <a:p>
            <a:pPr marL="285750" indent="-285750">
              <a:buFont typeface="Arial" panose="020B0604020202020204" pitchFamily="34" charset="0"/>
              <a:buChar char="•"/>
            </a:pPr>
            <a:r>
              <a:rPr lang="en-AU" sz="1400" dirty="0">
                <a:latin typeface="Arial Nova Cond" panose="020B0506020202020204" pitchFamily="34" charset="0"/>
              </a:rPr>
              <a:t>increased their collaboration and engagement with </a:t>
            </a:r>
            <a:br>
              <a:rPr lang="en-AU" sz="1400" dirty="0">
                <a:latin typeface="Arial Nova Cond" panose="020B0506020202020204" pitchFamily="34" charset="0"/>
              </a:rPr>
            </a:br>
            <a:r>
              <a:rPr lang="en-AU" sz="1400" dirty="0">
                <a:latin typeface="Arial Nova Cond" panose="020B0506020202020204" pitchFamily="34" charset="0"/>
              </a:rPr>
              <a:t>health and community organisations. </a:t>
            </a:r>
            <a:br>
              <a:rPr lang="en-AU" sz="1400" dirty="0">
                <a:latin typeface="Arial Nova Cond" panose="020B0506020202020204" pitchFamily="34" charset="0"/>
              </a:rPr>
            </a:br>
            <a:endParaRPr lang="en-AU" sz="1400" dirty="0">
              <a:latin typeface="Arial Nova Cond" panose="020B0506020202020204" pitchFamily="34" charset="0"/>
            </a:endParaRPr>
          </a:p>
        </p:txBody>
      </p:sp>
      <p:sp>
        <p:nvSpPr>
          <p:cNvPr id="16" name="Rectangle 15">
            <a:extLst>
              <a:ext uri="{FF2B5EF4-FFF2-40B4-BE49-F238E27FC236}">
                <a16:creationId xmlns:a16="http://schemas.microsoft.com/office/drawing/2014/main" id="{253A4AD6-849D-455E-9E7C-1E66A5C04391}"/>
              </a:ext>
            </a:extLst>
          </p:cNvPr>
          <p:cNvSpPr/>
          <p:nvPr/>
        </p:nvSpPr>
        <p:spPr>
          <a:xfrm>
            <a:off x="4967927" y="2574131"/>
            <a:ext cx="3878362" cy="1815882"/>
          </a:xfrm>
          <a:prstGeom prst="rect">
            <a:avLst/>
          </a:prstGeom>
        </p:spPr>
        <p:txBody>
          <a:bodyPr wrap="square">
            <a:spAutoFit/>
          </a:bodyPr>
          <a:lstStyle/>
          <a:p>
            <a:pPr algn="ctr"/>
            <a:r>
              <a:rPr lang="en-AU" sz="1600" i="1" dirty="0">
                <a:solidFill>
                  <a:srgbClr val="0070C0"/>
                </a:solidFill>
              </a:rPr>
              <a:t>We’ve had to change our language. We changed our language with customers. We’ve changed our language with employers. We’ve changed our language with hosts…. what we’re saying [is]… it’s got to be the right activity [for] the person… They are going to want to be here. </a:t>
            </a:r>
          </a:p>
        </p:txBody>
      </p:sp>
      <p:grpSp>
        <p:nvGrpSpPr>
          <p:cNvPr id="2" name="Group 1">
            <a:extLst>
              <a:ext uri="{FF2B5EF4-FFF2-40B4-BE49-F238E27FC236}">
                <a16:creationId xmlns:a16="http://schemas.microsoft.com/office/drawing/2014/main" id="{F8503663-51E6-40A8-BADA-65A851E38A1F}"/>
              </a:ext>
              <a:ext uri="{C183D7F6-B498-43B3-948B-1728B52AA6E4}">
                <adec:decorative xmlns:adec="http://schemas.microsoft.com/office/drawing/2017/decorative" val="1"/>
              </a:ext>
            </a:extLst>
          </p:cNvPr>
          <p:cNvGrpSpPr/>
          <p:nvPr/>
        </p:nvGrpSpPr>
        <p:grpSpPr>
          <a:xfrm>
            <a:off x="1041709" y="1471173"/>
            <a:ext cx="6931950" cy="756906"/>
            <a:chOff x="1041709" y="1242573"/>
            <a:chExt cx="6931950" cy="756906"/>
          </a:xfrm>
        </p:grpSpPr>
        <p:grpSp>
          <p:nvGrpSpPr>
            <p:cNvPr id="17" name="Group 16">
              <a:extLst>
                <a:ext uri="{FF2B5EF4-FFF2-40B4-BE49-F238E27FC236}">
                  <a16:creationId xmlns:a16="http://schemas.microsoft.com/office/drawing/2014/main" id="{29C34070-5412-44E4-84B1-3A273624B3CC}"/>
                </a:ext>
              </a:extLst>
            </p:cNvPr>
            <p:cNvGrpSpPr/>
            <p:nvPr/>
          </p:nvGrpSpPr>
          <p:grpSpPr>
            <a:xfrm>
              <a:off x="1041709" y="1242573"/>
              <a:ext cx="6931950" cy="756906"/>
              <a:chOff x="2703240" y="1268973"/>
              <a:chExt cx="6931950" cy="1182567"/>
            </a:xfrm>
          </p:grpSpPr>
          <p:sp>
            <p:nvSpPr>
              <p:cNvPr id="18" name="Rectangle: Rounded Corners 17">
                <a:extLst>
                  <a:ext uri="{FF2B5EF4-FFF2-40B4-BE49-F238E27FC236}">
                    <a16:creationId xmlns:a16="http://schemas.microsoft.com/office/drawing/2014/main" id="{A12BF966-5F32-443A-8BCE-3D30D18CAA57}"/>
                  </a:ext>
                </a:extLst>
              </p:cNvPr>
              <p:cNvSpPr/>
              <p:nvPr/>
            </p:nvSpPr>
            <p:spPr>
              <a:xfrm rot="10800000">
                <a:off x="2703240" y="1268973"/>
                <a:ext cx="6931950" cy="1182567"/>
              </a:xfrm>
              <a:prstGeom prst="roundRect">
                <a:avLst>
                  <a:gd name="adj" fmla="val 5168"/>
                </a:avLst>
              </a:prstGeom>
              <a:solidFill>
                <a:schemeClr val="bg1"/>
              </a:solidFill>
              <a:ln>
                <a:noFill/>
              </a:ln>
              <a:effectLst>
                <a:outerShdw blurRad="635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9" name="Freeform: Shape 18">
                <a:extLst>
                  <a:ext uri="{FF2B5EF4-FFF2-40B4-BE49-F238E27FC236}">
                    <a16:creationId xmlns:a16="http://schemas.microsoft.com/office/drawing/2014/main" id="{61983090-09F3-4190-9CCD-62A255CAA459}"/>
                  </a:ext>
                </a:extLst>
              </p:cNvPr>
              <p:cNvSpPr/>
              <p:nvPr/>
            </p:nvSpPr>
            <p:spPr>
              <a:xfrm rot="10800000">
                <a:off x="2703241" y="1268973"/>
                <a:ext cx="76424" cy="1182567"/>
              </a:xfrm>
              <a:custGeom>
                <a:avLst/>
                <a:gdLst>
                  <a:gd name="connsiteX0" fmla="*/ 0 w 225830"/>
                  <a:gd name="connsiteY0" fmla="*/ 0 h 2554926"/>
                  <a:gd name="connsiteX1" fmla="*/ 93791 w 225830"/>
                  <a:gd name="connsiteY1" fmla="*/ 0 h 2554926"/>
                  <a:gd name="connsiteX2" fmla="*/ 225830 w 225830"/>
                  <a:gd name="connsiteY2" fmla="*/ 132039 h 2554926"/>
                  <a:gd name="connsiteX3" fmla="*/ 225830 w 225830"/>
                  <a:gd name="connsiteY3" fmla="*/ 2422887 h 2554926"/>
                  <a:gd name="connsiteX4" fmla="*/ 93791 w 225830"/>
                  <a:gd name="connsiteY4" fmla="*/ 2554926 h 2554926"/>
                  <a:gd name="connsiteX5" fmla="*/ 0 w 225830"/>
                  <a:gd name="connsiteY5" fmla="*/ 2554926 h 255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30" h="2554926">
                    <a:moveTo>
                      <a:pt x="0" y="0"/>
                    </a:moveTo>
                    <a:lnTo>
                      <a:pt x="93791" y="0"/>
                    </a:lnTo>
                    <a:cubicBezTo>
                      <a:pt x="166714" y="0"/>
                      <a:pt x="225830" y="59116"/>
                      <a:pt x="225830" y="132039"/>
                    </a:cubicBezTo>
                    <a:lnTo>
                      <a:pt x="225830" y="2422887"/>
                    </a:lnTo>
                    <a:cubicBezTo>
                      <a:pt x="225830" y="2495810"/>
                      <a:pt x="166714" y="2554926"/>
                      <a:pt x="93791" y="2554926"/>
                    </a:cubicBezTo>
                    <a:lnTo>
                      <a:pt x="0" y="2554926"/>
                    </a:lnTo>
                    <a:close/>
                  </a:path>
                </a:pathLst>
              </a:custGeom>
              <a:solidFill>
                <a:srgbClr val="108E8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grpSp>
        <p:pic>
          <p:nvPicPr>
            <p:cNvPr id="20" name="Graphic 19">
              <a:extLst>
                <a:ext uri="{FF2B5EF4-FFF2-40B4-BE49-F238E27FC236}">
                  <a16:creationId xmlns:a16="http://schemas.microsoft.com/office/drawing/2014/main" id="{93B179C2-B35E-4DF5-BC26-F3D3502F161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12250" y="1333026"/>
              <a:ext cx="576000" cy="576000"/>
            </a:xfrm>
            <a:prstGeom prst="rect">
              <a:avLst/>
            </a:prstGeom>
          </p:spPr>
        </p:pic>
        <p:sp>
          <p:nvSpPr>
            <p:cNvPr id="21" name="TextBox 20">
              <a:extLst>
                <a:ext uri="{FF2B5EF4-FFF2-40B4-BE49-F238E27FC236}">
                  <a16:creationId xmlns:a16="http://schemas.microsoft.com/office/drawing/2014/main" id="{CF0F6871-B3B2-4AEC-B5EE-7C140C5333D4}"/>
                </a:ext>
              </a:extLst>
            </p:cNvPr>
            <p:cNvSpPr txBox="1"/>
            <p:nvPr/>
          </p:nvSpPr>
          <p:spPr>
            <a:xfrm>
              <a:off x="2020212" y="1412423"/>
              <a:ext cx="5509036" cy="400110"/>
            </a:xfrm>
            <a:prstGeom prst="rect">
              <a:avLst/>
            </a:prstGeom>
            <a:noFill/>
          </p:spPr>
          <p:txBody>
            <a:bodyPr wrap="square" rtlCol="0">
              <a:spAutoFit/>
            </a:bodyPr>
            <a:lstStyle/>
            <a:p>
              <a:pPr algn="ctr">
                <a:spcBef>
                  <a:spcPts val="450"/>
                </a:spcBef>
                <a:spcAft>
                  <a:spcPts val="450"/>
                </a:spcAft>
              </a:pPr>
              <a:r>
                <a:rPr lang="en-US" sz="2000" b="1" dirty="0">
                  <a:solidFill>
                    <a:srgbClr val="108E82"/>
                  </a:solidFill>
                  <a:latin typeface="Arial Nova" panose="020B0504020202020204" pitchFamily="34" charset="0"/>
                </a:rPr>
                <a:t> Relationships, Collaboration &amp; Engagement</a:t>
              </a:r>
            </a:p>
          </p:txBody>
        </p:sp>
      </p:grpSp>
    </p:spTree>
    <p:extLst>
      <p:ext uri="{BB962C8B-B14F-4D97-AF65-F5344CB8AC3E}">
        <p14:creationId xmlns:p14="http://schemas.microsoft.com/office/powerpoint/2010/main" val="317063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D228C7-3573-41AB-890E-582CA669A19C}"/>
              </a:ext>
            </a:extLst>
          </p:cNvPr>
          <p:cNvSpPr>
            <a:spLocks noGrp="1"/>
          </p:cNvSpPr>
          <p:nvPr>
            <p:ph type="title"/>
          </p:nvPr>
        </p:nvSpPr>
        <p:spPr>
          <a:xfrm>
            <a:off x="467832" y="349200"/>
            <a:ext cx="6353555" cy="993775"/>
          </a:xfrm>
        </p:spPr>
        <p:txBody>
          <a:bodyPr/>
          <a:lstStyle/>
          <a:p>
            <a:r>
              <a:rPr lang="en-AU" dirty="0"/>
              <a:t>NEST Evaluation Findings: </a:t>
            </a:r>
            <a:br>
              <a:rPr lang="en-AU" dirty="0"/>
            </a:br>
            <a:r>
              <a:rPr lang="en-AU" b="0" dirty="0"/>
              <a:t>What is working well?</a:t>
            </a:r>
            <a:endParaRPr lang="en-AU" dirty="0"/>
          </a:p>
        </p:txBody>
      </p:sp>
      <p:grpSp>
        <p:nvGrpSpPr>
          <p:cNvPr id="2" name="Group 1">
            <a:extLst>
              <a:ext uri="{FF2B5EF4-FFF2-40B4-BE49-F238E27FC236}">
                <a16:creationId xmlns:a16="http://schemas.microsoft.com/office/drawing/2014/main" id="{F25E03BF-A3D0-4A6D-BA3F-037B37E7172C}"/>
              </a:ext>
              <a:ext uri="{C183D7F6-B498-43B3-948B-1728B52AA6E4}">
                <adec:decorative xmlns:adec="http://schemas.microsoft.com/office/drawing/2017/decorative" val="1"/>
              </a:ext>
            </a:extLst>
          </p:cNvPr>
          <p:cNvGrpSpPr/>
          <p:nvPr/>
        </p:nvGrpSpPr>
        <p:grpSpPr>
          <a:xfrm>
            <a:off x="2725085" y="1499128"/>
            <a:ext cx="3501461" cy="756906"/>
            <a:chOff x="2725085" y="1327678"/>
            <a:chExt cx="3501461" cy="756906"/>
          </a:xfrm>
        </p:grpSpPr>
        <p:grpSp>
          <p:nvGrpSpPr>
            <p:cNvPr id="10" name="Group 9">
              <a:extLst>
                <a:ext uri="{FF2B5EF4-FFF2-40B4-BE49-F238E27FC236}">
                  <a16:creationId xmlns:a16="http://schemas.microsoft.com/office/drawing/2014/main" id="{EA23E3DE-752A-4750-9851-0CC8E2BE7F1D}"/>
                </a:ext>
              </a:extLst>
            </p:cNvPr>
            <p:cNvGrpSpPr/>
            <p:nvPr/>
          </p:nvGrpSpPr>
          <p:grpSpPr>
            <a:xfrm>
              <a:off x="2725085" y="1327678"/>
              <a:ext cx="3501461" cy="756906"/>
              <a:chOff x="2703241" y="1268973"/>
              <a:chExt cx="3501461" cy="1182567"/>
            </a:xfrm>
          </p:grpSpPr>
          <p:sp>
            <p:nvSpPr>
              <p:cNvPr id="12" name="Rectangle: Rounded Corners 11">
                <a:extLst>
                  <a:ext uri="{FF2B5EF4-FFF2-40B4-BE49-F238E27FC236}">
                    <a16:creationId xmlns:a16="http://schemas.microsoft.com/office/drawing/2014/main" id="{5F82BDF6-75D8-47DB-8845-40F260FE826F}"/>
                  </a:ext>
                </a:extLst>
              </p:cNvPr>
              <p:cNvSpPr/>
              <p:nvPr/>
            </p:nvSpPr>
            <p:spPr>
              <a:xfrm rot="10800000">
                <a:off x="2703242" y="1268973"/>
                <a:ext cx="3501460" cy="1182567"/>
              </a:xfrm>
              <a:prstGeom prst="roundRect">
                <a:avLst>
                  <a:gd name="adj" fmla="val 5168"/>
                </a:avLst>
              </a:prstGeom>
              <a:solidFill>
                <a:schemeClr val="bg1"/>
              </a:solidFill>
              <a:ln>
                <a:noFill/>
              </a:ln>
              <a:effectLst>
                <a:outerShdw blurRad="635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13" name="Freeform: Shape 12">
                <a:extLst>
                  <a:ext uri="{FF2B5EF4-FFF2-40B4-BE49-F238E27FC236}">
                    <a16:creationId xmlns:a16="http://schemas.microsoft.com/office/drawing/2014/main" id="{AA8EDE3A-360D-4D0D-83DB-46AC7A3D0B92}"/>
                  </a:ext>
                </a:extLst>
              </p:cNvPr>
              <p:cNvSpPr/>
              <p:nvPr/>
            </p:nvSpPr>
            <p:spPr>
              <a:xfrm rot="10800000">
                <a:off x="2703241" y="1268973"/>
                <a:ext cx="76424" cy="1182567"/>
              </a:xfrm>
              <a:custGeom>
                <a:avLst/>
                <a:gdLst>
                  <a:gd name="connsiteX0" fmla="*/ 0 w 225830"/>
                  <a:gd name="connsiteY0" fmla="*/ 0 h 2554926"/>
                  <a:gd name="connsiteX1" fmla="*/ 93791 w 225830"/>
                  <a:gd name="connsiteY1" fmla="*/ 0 h 2554926"/>
                  <a:gd name="connsiteX2" fmla="*/ 225830 w 225830"/>
                  <a:gd name="connsiteY2" fmla="*/ 132039 h 2554926"/>
                  <a:gd name="connsiteX3" fmla="*/ 225830 w 225830"/>
                  <a:gd name="connsiteY3" fmla="*/ 2422887 h 2554926"/>
                  <a:gd name="connsiteX4" fmla="*/ 93791 w 225830"/>
                  <a:gd name="connsiteY4" fmla="*/ 2554926 h 2554926"/>
                  <a:gd name="connsiteX5" fmla="*/ 0 w 225830"/>
                  <a:gd name="connsiteY5" fmla="*/ 2554926 h 255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30" h="2554926">
                    <a:moveTo>
                      <a:pt x="0" y="0"/>
                    </a:moveTo>
                    <a:lnTo>
                      <a:pt x="93791" y="0"/>
                    </a:lnTo>
                    <a:cubicBezTo>
                      <a:pt x="166714" y="0"/>
                      <a:pt x="225830" y="59116"/>
                      <a:pt x="225830" y="132039"/>
                    </a:cubicBezTo>
                    <a:lnTo>
                      <a:pt x="225830" y="2422887"/>
                    </a:lnTo>
                    <a:cubicBezTo>
                      <a:pt x="225830" y="2495810"/>
                      <a:pt x="166714" y="2554926"/>
                      <a:pt x="93791" y="2554926"/>
                    </a:cubicBezTo>
                    <a:lnTo>
                      <a:pt x="0" y="2554926"/>
                    </a:lnTo>
                    <a:close/>
                  </a:path>
                </a:pathLst>
              </a:custGeom>
              <a:solidFill>
                <a:srgbClr val="108E8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grpSp>
        <p:pic>
          <p:nvPicPr>
            <p:cNvPr id="14" name="Graphic 13">
              <a:extLst>
                <a:ext uri="{FF2B5EF4-FFF2-40B4-BE49-F238E27FC236}">
                  <a16:creationId xmlns:a16="http://schemas.microsoft.com/office/drawing/2014/main" id="{E0903DD1-DEE7-4AF6-9C44-19257AB1611C}"/>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27002" y="1418131"/>
              <a:ext cx="576000" cy="576000"/>
            </a:xfrm>
            <a:prstGeom prst="rect">
              <a:avLst/>
            </a:prstGeom>
          </p:spPr>
        </p:pic>
        <p:sp>
          <p:nvSpPr>
            <p:cNvPr id="15" name="TextBox 14">
              <a:extLst>
                <a:ext uri="{FF2B5EF4-FFF2-40B4-BE49-F238E27FC236}">
                  <a16:creationId xmlns:a16="http://schemas.microsoft.com/office/drawing/2014/main" id="{3621A100-E063-4560-8D33-D4FD9B0A4D62}"/>
                </a:ext>
              </a:extLst>
            </p:cNvPr>
            <p:cNvSpPr txBox="1"/>
            <p:nvPr/>
          </p:nvSpPr>
          <p:spPr>
            <a:xfrm>
              <a:off x="3634964" y="1497528"/>
              <a:ext cx="2083620" cy="400110"/>
            </a:xfrm>
            <a:prstGeom prst="rect">
              <a:avLst/>
            </a:prstGeom>
            <a:noFill/>
          </p:spPr>
          <p:txBody>
            <a:bodyPr wrap="square" rtlCol="0">
              <a:spAutoFit/>
            </a:bodyPr>
            <a:lstStyle/>
            <a:p>
              <a:pPr algn="ctr">
                <a:spcBef>
                  <a:spcPts val="450"/>
                </a:spcBef>
                <a:spcAft>
                  <a:spcPts val="450"/>
                </a:spcAft>
              </a:pPr>
              <a:r>
                <a:rPr lang="en-US" sz="2000" b="1" dirty="0">
                  <a:solidFill>
                    <a:srgbClr val="108E82"/>
                  </a:solidFill>
                  <a:latin typeface="Arial Nova" panose="020B0504020202020204" pitchFamily="34" charset="0"/>
                </a:rPr>
                <a:t>Innovation</a:t>
              </a:r>
            </a:p>
          </p:txBody>
        </p:sp>
      </p:grpSp>
      <p:sp>
        <p:nvSpPr>
          <p:cNvPr id="16" name="Rectangle 15">
            <a:extLst>
              <a:ext uri="{FF2B5EF4-FFF2-40B4-BE49-F238E27FC236}">
                <a16:creationId xmlns:a16="http://schemas.microsoft.com/office/drawing/2014/main" id="{15017E3D-CA6C-498C-9663-20F5140F534D}"/>
              </a:ext>
            </a:extLst>
          </p:cNvPr>
          <p:cNvSpPr/>
          <p:nvPr/>
        </p:nvSpPr>
        <p:spPr>
          <a:xfrm>
            <a:off x="565222" y="2534856"/>
            <a:ext cx="7090220" cy="1102353"/>
          </a:xfrm>
          <a:prstGeom prst="rect">
            <a:avLst/>
          </a:prstGeom>
        </p:spPr>
        <p:txBody>
          <a:bodyPr wrap="square">
            <a:spAutoFit/>
          </a:bodyPr>
          <a:lstStyle/>
          <a:p>
            <a:pPr marL="285750" indent="-285750">
              <a:lnSpc>
                <a:spcPct val="120000"/>
              </a:lnSpc>
              <a:buFont typeface="Arial" panose="020B0604020202020204" pitchFamily="34" charset="0"/>
              <a:buChar char="•"/>
            </a:pPr>
            <a:r>
              <a:rPr lang="en-AU" sz="1400" dirty="0">
                <a:latin typeface="Arial Nova Cond" panose="020B0506020202020204" pitchFamily="34" charset="0"/>
              </a:rPr>
              <a:t>More empowered to find innovative solutions. </a:t>
            </a:r>
          </a:p>
          <a:p>
            <a:pPr marL="285750" indent="-285750">
              <a:lnSpc>
                <a:spcPct val="120000"/>
              </a:lnSpc>
              <a:buFont typeface="Arial" panose="020B0604020202020204" pitchFamily="34" charset="0"/>
              <a:buChar char="•"/>
            </a:pPr>
            <a:r>
              <a:rPr lang="en-AU" sz="1400" dirty="0">
                <a:latin typeface="Arial Nova Cond" panose="020B0506020202020204" pitchFamily="34" charset="0"/>
              </a:rPr>
              <a:t>Developing targeted skills training or liaising with department’s local employment groups to meet local employment demands. </a:t>
            </a:r>
          </a:p>
          <a:p>
            <a:pPr marL="285750" indent="-285750">
              <a:lnSpc>
                <a:spcPct val="120000"/>
              </a:lnSpc>
              <a:buFont typeface="Arial" panose="020B0604020202020204" pitchFamily="34" charset="0"/>
              <a:buChar char="•"/>
            </a:pPr>
            <a:r>
              <a:rPr lang="en-AU" sz="1400" dirty="0">
                <a:latin typeface="Arial Nova Cond" panose="020B0506020202020204" pitchFamily="34" charset="0"/>
              </a:rPr>
              <a:t>Using digital technology to engage with and link participants and employers. </a:t>
            </a:r>
          </a:p>
        </p:txBody>
      </p:sp>
    </p:spTree>
    <p:extLst>
      <p:ext uri="{BB962C8B-B14F-4D97-AF65-F5344CB8AC3E}">
        <p14:creationId xmlns:p14="http://schemas.microsoft.com/office/powerpoint/2010/main" val="4225469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B3AC874-C526-4196-80C0-2DA3D8C9D28D}"/>
              </a:ext>
            </a:extLst>
          </p:cNvPr>
          <p:cNvSpPr>
            <a:spLocks noGrp="1"/>
          </p:cNvSpPr>
          <p:nvPr>
            <p:ph type="title" idx="4294967295"/>
          </p:nvPr>
        </p:nvSpPr>
        <p:spPr>
          <a:xfrm>
            <a:off x="4716016" y="598623"/>
            <a:ext cx="3096344" cy="993775"/>
          </a:xfrm>
        </p:spPr>
        <p:txBody>
          <a:bodyPr>
            <a:normAutofit/>
          </a:bodyPr>
          <a:lstStyle/>
          <a:p>
            <a:r>
              <a:rPr lang="en-AU" sz="2400" b="1" dirty="0">
                <a:latin typeface="Arial Nova" panose="020B0504020202020204" pitchFamily="34" charset="0"/>
              </a:rPr>
              <a:t>Acknowledgement of country</a:t>
            </a:r>
          </a:p>
        </p:txBody>
      </p:sp>
      <p:sp>
        <p:nvSpPr>
          <p:cNvPr id="11" name="TextBox 10">
            <a:extLst>
              <a:ext uri="{FF2B5EF4-FFF2-40B4-BE49-F238E27FC236}">
                <a16:creationId xmlns:a16="http://schemas.microsoft.com/office/drawing/2014/main" id="{BAF1BA94-051A-4F74-998F-71D6C67238BA}"/>
              </a:ext>
            </a:extLst>
          </p:cNvPr>
          <p:cNvSpPr txBox="1"/>
          <p:nvPr/>
        </p:nvSpPr>
        <p:spPr>
          <a:xfrm>
            <a:off x="4716016" y="1744428"/>
            <a:ext cx="3096344" cy="2308324"/>
          </a:xfrm>
          <a:prstGeom prst="rect">
            <a:avLst/>
          </a:prstGeom>
          <a:noFill/>
        </p:spPr>
        <p:txBody>
          <a:bodyPr wrap="square" rtlCol="0">
            <a:spAutoFit/>
          </a:bodyPr>
          <a:lstStyle/>
          <a:p>
            <a:r>
              <a:rPr lang="en-AU" dirty="0">
                <a:solidFill>
                  <a:schemeClr val="bg1"/>
                </a:solidFill>
                <a:latin typeface="Arial Nova Cond" panose="020B0506020202020204" pitchFamily="34" charset="0"/>
              </a:rPr>
              <a:t>We respectfully acknowledge the traditional owners and custodians of this land.</a:t>
            </a:r>
          </a:p>
          <a:p>
            <a:endParaRPr lang="en-AU" dirty="0">
              <a:solidFill>
                <a:schemeClr val="bg1"/>
              </a:solidFill>
              <a:latin typeface="Arial Nova Cond" panose="020B0506020202020204" pitchFamily="34" charset="0"/>
            </a:endParaRPr>
          </a:p>
          <a:p>
            <a:r>
              <a:rPr lang="en-AU" dirty="0">
                <a:solidFill>
                  <a:schemeClr val="bg1"/>
                </a:solidFill>
                <a:latin typeface="Arial Nova Cond" panose="020B0506020202020204" pitchFamily="34" charset="0"/>
              </a:rPr>
              <a:t>We pay our respects to them and their elders past, present and emerging.</a:t>
            </a:r>
          </a:p>
          <a:p>
            <a:endParaRPr lang="en-AU" dirty="0">
              <a:latin typeface="Arial Nova" panose="020B0504020202020204" pitchFamily="34" charset="0"/>
            </a:endParaRPr>
          </a:p>
        </p:txBody>
      </p:sp>
      <p:pic>
        <p:nvPicPr>
          <p:cNvPr id="9" name="Content Placeholder 8" descr="Colourful dot painting art">
            <a:extLst>
              <a:ext uri="{FF2B5EF4-FFF2-40B4-BE49-F238E27FC236}">
                <a16:creationId xmlns:a16="http://schemas.microsoft.com/office/drawing/2014/main" id="{8BE50DCB-BBBB-4F05-AAC3-FF0D5067880E}"/>
              </a:ext>
            </a:extLst>
          </p:cNvPr>
          <p:cNvPicPr>
            <a:picLocks noGrp="1" noChangeAspect="1"/>
          </p:cNvPicPr>
          <p:nvPr>
            <p:ph idx="4294967295"/>
          </p:nvPr>
        </p:nvPicPr>
        <p:blipFill rotWithShape="1">
          <a:blip r:embed="rId3">
            <a:extLst>
              <a:ext uri="{28A0092B-C50C-407E-A947-70E740481C1C}">
                <a14:useLocalDpi xmlns:a14="http://schemas.microsoft.com/office/drawing/2010/main" val="0"/>
              </a:ext>
            </a:extLst>
          </a:blip>
          <a:srcRect l="13898" r="25276"/>
          <a:stretch/>
        </p:blipFill>
        <p:spPr>
          <a:xfrm>
            <a:off x="0" y="0"/>
            <a:ext cx="4572000" cy="5148263"/>
          </a:xfrm>
        </p:spPr>
      </p:pic>
    </p:spTree>
    <p:extLst>
      <p:ext uri="{BB962C8B-B14F-4D97-AF65-F5344CB8AC3E}">
        <p14:creationId xmlns:p14="http://schemas.microsoft.com/office/powerpoint/2010/main" val="2548324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5D228C7-3573-41AB-890E-582CA669A19C}"/>
              </a:ext>
            </a:extLst>
          </p:cNvPr>
          <p:cNvSpPr>
            <a:spLocks noGrp="1"/>
          </p:cNvSpPr>
          <p:nvPr>
            <p:ph type="title"/>
          </p:nvPr>
        </p:nvSpPr>
        <p:spPr/>
        <p:txBody>
          <a:bodyPr>
            <a:normAutofit/>
          </a:bodyPr>
          <a:lstStyle/>
          <a:p>
            <a:r>
              <a:rPr lang="en-AU" dirty="0"/>
              <a:t>NEST findings into final policy</a:t>
            </a:r>
            <a:br>
              <a:rPr lang="en-AU" dirty="0"/>
            </a:br>
            <a:endParaRPr lang="en-AU" b="0" dirty="0"/>
          </a:p>
        </p:txBody>
      </p:sp>
      <p:sp>
        <p:nvSpPr>
          <p:cNvPr id="6" name="Text Placeholder 5">
            <a:extLst>
              <a:ext uri="{FF2B5EF4-FFF2-40B4-BE49-F238E27FC236}">
                <a16:creationId xmlns:a16="http://schemas.microsoft.com/office/drawing/2014/main" id="{ACB2A1F4-1DC2-4CBD-B24A-E3C2DCC2F998}"/>
              </a:ext>
            </a:extLst>
          </p:cNvPr>
          <p:cNvSpPr>
            <a:spLocks noGrp="1"/>
          </p:cNvSpPr>
          <p:nvPr>
            <p:ph type="body" sz="quarter" idx="10"/>
          </p:nvPr>
        </p:nvSpPr>
        <p:spPr/>
        <p:txBody>
          <a:bodyPr/>
          <a:lstStyle/>
          <a:p>
            <a:pPr>
              <a:lnSpc>
                <a:spcPct val="100000"/>
              </a:lnSpc>
            </a:pPr>
            <a:r>
              <a:rPr lang="en-AU" sz="1400" b="1" dirty="0"/>
              <a:t>Tiers</a:t>
            </a:r>
          </a:p>
          <a:p>
            <a:pPr>
              <a:lnSpc>
                <a:spcPct val="100000"/>
              </a:lnSpc>
            </a:pPr>
            <a:r>
              <a:rPr lang="en-AU" sz="1400" dirty="0"/>
              <a:t>Some appreciation of them as them having an administrative function, but not broadly supported. </a:t>
            </a:r>
          </a:p>
          <a:p>
            <a:pPr>
              <a:lnSpc>
                <a:spcPct val="100000"/>
              </a:lnSpc>
            </a:pPr>
            <a:endParaRPr lang="en-AU" sz="1400" dirty="0"/>
          </a:p>
          <a:p>
            <a:pPr>
              <a:lnSpc>
                <a:spcPct val="100000"/>
              </a:lnSpc>
            </a:pPr>
            <a:endParaRPr lang="en-AU" sz="1400" dirty="0"/>
          </a:p>
        </p:txBody>
      </p:sp>
      <p:sp>
        <p:nvSpPr>
          <p:cNvPr id="8" name="Text Placeholder 7">
            <a:extLst>
              <a:ext uri="{FF2B5EF4-FFF2-40B4-BE49-F238E27FC236}">
                <a16:creationId xmlns:a16="http://schemas.microsoft.com/office/drawing/2014/main" id="{99BE9897-CB67-4EC5-97CA-B006D0C837E2}"/>
              </a:ext>
            </a:extLst>
          </p:cNvPr>
          <p:cNvSpPr>
            <a:spLocks noGrp="1"/>
          </p:cNvSpPr>
          <p:nvPr>
            <p:ph type="body" sz="quarter" idx="11"/>
          </p:nvPr>
        </p:nvSpPr>
        <p:spPr/>
        <p:txBody>
          <a:bodyPr/>
          <a:lstStyle/>
          <a:p>
            <a:pPr>
              <a:lnSpc>
                <a:spcPct val="100000"/>
              </a:lnSpc>
            </a:pPr>
            <a:r>
              <a:rPr lang="en-AU" sz="1400" b="1" dirty="0"/>
              <a:t>Digital Servicing</a:t>
            </a:r>
          </a:p>
          <a:p>
            <a:pPr>
              <a:lnSpc>
                <a:spcPct val="100000"/>
              </a:lnSpc>
            </a:pPr>
            <a:r>
              <a:rPr lang="en-AU" sz="1400" dirty="0"/>
              <a:t>Originally two service levels planned (Digital First and Digital Plus) and these have been integrated into one digital services offer.</a:t>
            </a:r>
          </a:p>
        </p:txBody>
      </p:sp>
      <p:sp>
        <p:nvSpPr>
          <p:cNvPr id="9" name="Text Placeholder 8">
            <a:extLst>
              <a:ext uri="{FF2B5EF4-FFF2-40B4-BE49-F238E27FC236}">
                <a16:creationId xmlns:a16="http://schemas.microsoft.com/office/drawing/2014/main" id="{158D9957-6DF9-455D-8B09-3B9AF8FDFF38}"/>
              </a:ext>
            </a:extLst>
          </p:cNvPr>
          <p:cNvSpPr>
            <a:spLocks noGrp="1"/>
          </p:cNvSpPr>
          <p:nvPr>
            <p:ph type="body" sz="quarter" idx="12"/>
          </p:nvPr>
        </p:nvSpPr>
        <p:spPr/>
        <p:txBody>
          <a:bodyPr/>
          <a:lstStyle/>
          <a:p>
            <a:pPr>
              <a:lnSpc>
                <a:spcPct val="100000"/>
              </a:lnSpc>
            </a:pPr>
            <a:r>
              <a:rPr lang="en-AU" sz="1400" b="1" dirty="0"/>
              <a:t>Payment structure including Outcome payments</a:t>
            </a:r>
          </a:p>
          <a:p>
            <a:pPr>
              <a:lnSpc>
                <a:spcPct val="100000"/>
              </a:lnSpc>
            </a:pPr>
            <a:r>
              <a:rPr lang="en-AU" sz="1400" dirty="0">
                <a:cs typeface="Calibri"/>
              </a:rPr>
              <a:t>T</a:t>
            </a:r>
            <a:r>
              <a:rPr lang="en-US" sz="1400" dirty="0"/>
              <a:t>he new model will include </a:t>
            </a:r>
            <a:r>
              <a:rPr lang="en-AU" sz="1400" dirty="0"/>
              <a:t>Introduction of a partial 26-week outcome payment.</a:t>
            </a:r>
          </a:p>
        </p:txBody>
      </p:sp>
      <p:pic>
        <p:nvPicPr>
          <p:cNvPr id="10" name="Graphic 9">
            <a:extLst>
              <a:ext uri="{FF2B5EF4-FFF2-40B4-BE49-F238E27FC236}">
                <a16:creationId xmlns:a16="http://schemas.microsoft.com/office/drawing/2014/main" id="{91B87C93-F87A-4F36-98DD-9611610E95FC}"/>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69826" y="1772986"/>
            <a:ext cx="576000" cy="576000"/>
          </a:xfrm>
          <a:prstGeom prst="rect">
            <a:avLst/>
          </a:prstGeom>
        </p:spPr>
      </p:pic>
      <p:sp>
        <p:nvSpPr>
          <p:cNvPr id="12" name="TextBox 11">
            <a:extLst>
              <a:ext uri="{FF2B5EF4-FFF2-40B4-BE49-F238E27FC236}">
                <a16:creationId xmlns:a16="http://schemas.microsoft.com/office/drawing/2014/main" id="{5F2E7A9A-11BD-4AAA-A752-4EC480999A5E}"/>
              </a:ext>
            </a:extLst>
          </p:cNvPr>
          <p:cNvSpPr txBox="1"/>
          <p:nvPr/>
        </p:nvSpPr>
        <p:spPr>
          <a:xfrm>
            <a:off x="6873766" y="1599321"/>
            <a:ext cx="796158" cy="923330"/>
          </a:xfrm>
          <a:prstGeom prst="rect">
            <a:avLst/>
          </a:prstGeom>
          <a:noFill/>
        </p:spPr>
        <p:txBody>
          <a:bodyPr wrap="square" rtlCol="0">
            <a:spAutoFit/>
          </a:bodyPr>
          <a:lstStyle/>
          <a:p>
            <a:r>
              <a:rPr lang="en-AU" sz="5400" dirty="0">
                <a:solidFill>
                  <a:srgbClr val="F56220"/>
                </a:solidFill>
                <a:latin typeface="Arial Nova" panose="020B0504020202020204" pitchFamily="34" charset="0"/>
              </a:rPr>
              <a:t>$</a:t>
            </a:r>
          </a:p>
        </p:txBody>
      </p:sp>
      <p:pic>
        <p:nvPicPr>
          <p:cNvPr id="13" name="Graphic 12">
            <a:extLst>
              <a:ext uri="{FF2B5EF4-FFF2-40B4-BE49-F238E27FC236}">
                <a16:creationId xmlns:a16="http://schemas.microsoft.com/office/drawing/2014/main" id="{F25C0E2F-E1FD-46C8-80C1-F8935430B4A3}"/>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74076" y="1772986"/>
            <a:ext cx="576000" cy="576000"/>
          </a:xfrm>
          <a:prstGeom prst="rect">
            <a:avLst/>
          </a:prstGeom>
        </p:spPr>
      </p:pic>
    </p:spTree>
    <p:extLst>
      <p:ext uri="{BB962C8B-B14F-4D97-AF65-F5344CB8AC3E}">
        <p14:creationId xmlns:p14="http://schemas.microsoft.com/office/powerpoint/2010/main" val="409831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C691D-CC85-4654-956C-3BD094C98F84}"/>
              </a:ext>
            </a:extLst>
          </p:cNvPr>
          <p:cNvSpPr>
            <a:spLocks noGrp="1"/>
          </p:cNvSpPr>
          <p:nvPr>
            <p:ph type="title" idx="4294967295"/>
          </p:nvPr>
        </p:nvSpPr>
        <p:spPr>
          <a:xfrm>
            <a:off x="628650" y="497642"/>
            <a:ext cx="7886700" cy="993775"/>
          </a:xfrm>
        </p:spPr>
        <p:txBody>
          <a:bodyPr/>
          <a:lstStyle/>
          <a:p>
            <a:r>
              <a:rPr lang="en-AU" sz="2400" b="1" dirty="0">
                <a:latin typeface="Arial Nova" panose="020B0504020202020204" pitchFamily="34" charset="0"/>
              </a:rPr>
              <a:t>Points Based Activation System</a:t>
            </a:r>
          </a:p>
        </p:txBody>
      </p:sp>
      <p:sp>
        <p:nvSpPr>
          <p:cNvPr id="3" name="TextBox 2">
            <a:extLst>
              <a:ext uri="{FF2B5EF4-FFF2-40B4-BE49-F238E27FC236}">
                <a16:creationId xmlns:a16="http://schemas.microsoft.com/office/drawing/2014/main" id="{1D645B92-E8F9-425E-B611-40F2E1734391}"/>
              </a:ext>
            </a:extLst>
          </p:cNvPr>
          <p:cNvSpPr txBox="1"/>
          <p:nvPr/>
        </p:nvSpPr>
        <p:spPr>
          <a:xfrm flipH="1">
            <a:off x="1896440" y="2687898"/>
            <a:ext cx="2561903" cy="523220"/>
          </a:xfrm>
          <a:prstGeom prst="rect">
            <a:avLst/>
          </a:prstGeom>
          <a:noFill/>
        </p:spPr>
        <p:txBody>
          <a:bodyPr wrap="square" rtlCol="0">
            <a:spAutoFit/>
          </a:bodyPr>
          <a:lstStyle/>
          <a:p>
            <a:pPr>
              <a:defRPr/>
            </a:pPr>
            <a:r>
              <a:rPr lang="en-GB" sz="1400" dirty="0">
                <a:solidFill>
                  <a:schemeClr val="bg1"/>
                </a:solidFill>
                <a:latin typeface="Arial Nova Cond" panose="020B0506020202020204" pitchFamily="34" charset="0"/>
                <a:cs typeface="Segoe UI Light" panose="020B0502040204020203" pitchFamily="34" charset="0"/>
              </a:rPr>
              <a:t>Greater choice and</a:t>
            </a:r>
            <a:r>
              <a:rPr lang="en-AU" sz="1400" dirty="0">
                <a:solidFill>
                  <a:schemeClr val="bg1"/>
                </a:solidFill>
                <a:latin typeface="Arial Nova Cond" panose="020B0506020202020204" pitchFamily="34" charset="0"/>
                <a:cs typeface="Arial" panose="020B0604020202020204" pitchFamily="34" charset="0"/>
              </a:rPr>
              <a:t> flexibility about meeting obligations</a:t>
            </a:r>
            <a:r>
              <a:rPr lang="en-GB" sz="1400" dirty="0">
                <a:solidFill>
                  <a:schemeClr val="bg1"/>
                </a:solidFill>
                <a:latin typeface="Arial Nova Cond" panose="020B0506020202020204" pitchFamily="34" charset="0"/>
                <a:cs typeface="Segoe UI Light" panose="020B0502040204020203" pitchFamily="34" charset="0"/>
              </a:rPr>
              <a:t> </a:t>
            </a:r>
          </a:p>
        </p:txBody>
      </p:sp>
      <p:sp>
        <p:nvSpPr>
          <p:cNvPr id="5" name="TextBox 4">
            <a:extLst>
              <a:ext uri="{FF2B5EF4-FFF2-40B4-BE49-F238E27FC236}">
                <a16:creationId xmlns:a16="http://schemas.microsoft.com/office/drawing/2014/main" id="{165D7010-D8E6-4084-B246-A12C0D7679D2}"/>
              </a:ext>
            </a:extLst>
          </p:cNvPr>
          <p:cNvSpPr txBox="1"/>
          <p:nvPr/>
        </p:nvSpPr>
        <p:spPr>
          <a:xfrm flipH="1">
            <a:off x="1880779" y="2420242"/>
            <a:ext cx="3033151" cy="307777"/>
          </a:xfrm>
          <a:prstGeom prst="rect">
            <a:avLst/>
          </a:prstGeom>
          <a:noFill/>
        </p:spPr>
        <p:txBody>
          <a:bodyPr wrap="square" rtlCol="0">
            <a:spAutoFit/>
          </a:bodyPr>
          <a:lstStyle/>
          <a:p>
            <a:pPr>
              <a:lnSpc>
                <a:spcPts val="1800"/>
              </a:lnSpc>
              <a:defRPr/>
            </a:pPr>
            <a:r>
              <a:rPr lang="en-GB" sz="1400" b="1">
                <a:solidFill>
                  <a:schemeClr val="bg1"/>
                </a:solidFill>
                <a:latin typeface="Arial Nova Cond" panose="020B0506020202020204" pitchFamily="34" charset="0"/>
                <a:cs typeface="Segoe UI Light" panose="020B0502040204020203" pitchFamily="34" charset="0"/>
              </a:rPr>
              <a:t>Points based activation system</a:t>
            </a:r>
          </a:p>
        </p:txBody>
      </p:sp>
      <p:sp>
        <p:nvSpPr>
          <p:cNvPr id="14" name="TextBox 13">
            <a:extLst>
              <a:ext uri="{FF2B5EF4-FFF2-40B4-BE49-F238E27FC236}">
                <a16:creationId xmlns:a16="http://schemas.microsoft.com/office/drawing/2014/main" id="{93E03AFD-C619-476F-ADE0-DACAC1C29646}"/>
              </a:ext>
            </a:extLst>
          </p:cNvPr>
          <p:cNvSpPr txBox="1"/>
          <p:nvPr/>
        </p:nvSpPr>
        <p:spPr>
          <a:xfrm flipH="1">
            <a:off x="5758349" y="2658446"/>
            <a:ext cx="2834136" cy="767646"/>
          </a:xfrm>
          <a:prstGeom prst="rect">
            <a:avLst/>
          </a:prstGeom>
          <a:noFill/>
        </p:spPr>
        <p:txBody>
          <a:bodyPr wrap="square" rtlCol="0">
            <a:spAutoFit/>
          </a:bodyPr>
          <a:lstStyle/>
          <a:p>
            <a:pPr marL="171450" indent="-171450">
              <a:lnSpc>
                <a:spcPts val="1800"/>
              </a:lnSpc>
              <a:buFont typeface="Wingdings" panose="05000000000000000000" pitchFamily="2" charset="2"/>
              <a:buChar char="ü"/>
              <a:defRPr/>
            </a:pPr>
            <a:r>
              <a:rPr lang="en-GB" sz="1400" dirty="0">
                <a:solidFill>
                  <a:schemeClr val="bg1"/>
                </a:solidFill>
                <a:latin typeface="Arial Nova Cond" panose="020B0506020202020204" pitchFamily="34" charset="0"/>
                <a:cs typeface="Segoe UI Light" panose="020B0502040204020203" pitchFamily="34" charset="0"/>
              </a:rPr>
              <a:t>work experience</a:t>
            </a:r>
          </a:p>
          <a:p>
            <a:pPr marL="171450" indent="-171450">
              <a:lnSpc>
                <a:spcPts val="1800"/>
              </a:lnSpc>
              <a:buFont typeface="Wingdings" panose="05000000000000000000" pitchFamily="2" charset="2"/>
              <a:buChar char="ü"/>
              <a:defRPr/>
            </a:pPr>
            <a:r>
              <a:rPr lang="en-GB" sz="1400" dirty="0">
                <a:solidFill>
                  <a:schemeClr val="bg1"/>
                </a:solidFill>
                <a:latin typeface="Arial Nova Cond" panose="020B0506020202020204" pitchFamily="34" charset="0"/>
                <a:cs typeface="Segoe UI Light" panose="020B0502040204020203" pitchFamily="34" charset="0"/>
              </a:rPr>
              <a:t>addressing non-vocational barriers</a:t>
            </a:r>
          </a:p>
          <a:p>
            <a:pPr marL="171450" indent="-171450">
              <a:lnSpc>
                <a:spcPts val="1800"/>
              </a:lnSpc>
              <a:buFont typeface="Wingdings" panose="05000000000000000000" pitchFamily="2" charset="2"/>
              <a:buChar char="ü"/>
              <a:defRPr/>
            </a:pPr>
            <a:r>
              <a:rPr lang="en-AU" sz="1400" dirty="0">
                <a:solidFill>
                  <a:schemeClr val="bg1"/>
                </a:solidFill>
                <a:latin typeface="Arial Nova Cond" panose="020B0506020202020204" pitchFamily="34" charset="0"/>
                <a:cs typeface="Segoe UI Light" panose="020B0502040204020203" pitchFamily="34" charset="0"/>
              </a:rPr>
              <a:t>addressing vocational barriers</a:t>
            </a:r>
          </a:p>
        </p:txBody>
      </p:sp>
      <p:sp>
        <p:nvSpPr>
          <p:cNvPr id="15" name="Rectangle 14">
            <a:extLst>
              <a:ext uri="{FF2B5EF4-FFF2-40B4-BE49-F238E27FC236}">
                <a16:creationId xmlns:a16="http://schemas.microsoft.com/office/drawing/2014/main" id="{29C967C9-6728-434C-91DD-6EFFFC3C30E3}"/>
              </a:ext>
            </a:extLst>
          </p:cNvPr>
          <p:cNvSpPr/>
          <p:nvPr/>
        </p:nvSpPr>
        <p:spPr>
          <a:xfrm>
            <a:off x="5762351" y="2151084"/>
            <a:ext cx="1841786" cy="536814"/>
          </a:xfrm>
          <a:prstGeom prst="rect">
            <a:avLst/>
          </a:prstGeom>
        </p:spPr>
        <p:txBody>
          <a:bodyPr wrap="none">
            <a:spAutoFit/>
          </a:bodyPr>
          <a:lstStyle/>
          <a:p>
            <a:pPr>
              <a:lnSpc>
                <a:spcPts val="1800"/>
              </a:lnSpc>
              <a:defRPr/>
            </a:pPr>
            <a:r>
              <a:rPr lang="en-GB" sz="1400" b="1" dirty="0">
                <a:solidFill>
                  <a:schemeClr val="bg1"/>
                </a:solidFill>
                <a:latin typeface="Arial Nova Cond" panose="020B0506020202020204" pitchFamily="34" charset="0"/>
                <a:cs typeface="Segoe UI Light" panose="020B0502040204020203" pitchFamily="34" charset="0"/>
              </a:rPr>
              <a:t>Job search required</a:t>
            </a:r>
          </a:p>
          <a:p>
            <a:pPr>
              <a:lnSpc>
                <a:spcPts val="1800"/>
              </a:lnSpc>
              <a:defRPr/>
            </a:pPr>
            <a:r>
              <a:rPr lang="en-GB" sz="1400" dirty="0">
                <a:solidFill>
                  <a:schemeClr val="bg1"/>
                </a:solidFill>
                <a:latin typeface="Arial Nova Cond" panose="020B0506020202020204" pitchFamily="34" charset="0"/>
                <a:cs typeface="Segoe UI Light" panose="020B0502040204020203" pitchFamily="34" charset="0"/>
              </a:rPr>
              <a:t>Other activities include:</a:t>
            </a:r>
          </a:p>
        </p:txBody>
      </p:sp>
      <p:grpSp>
        <p:nvGrpSpPr>
          <p:cNvPr id="6" name="Group 5">
            <a:extLst>
              <a:ext uri="{FF2B5EF4-FFF2-40B4-BE49-F238E27FC236}">
                <a16:creationId xmlns:a16="http://schemas.microsoft.com/office/drawing/2014/main" id="{D122DDA9-2D7A-4810-9B95-2FEA5AB276A8}"/>
              </a:ext>
              <a:ext uri="{C183D7F6-B498-43B3-948B-1728B52AA6E4}">
                <adec:decorative xmlns:adec="http://schemas.microsoft.com/office/drawing/2017/decorative" val="1"/>
              </a:ext>
            </a:extLst>
          </p:cNvPr>
          <p:cNvGrpSpPr/>
          <p:nvPr/>
        </p:nvGrpSpPr>
        <p:grpSpPr>
          <a:xfrm>
            <a:off x="796464" y="2459795"/>
            <a:ext cx="978993" cy="739500"/>
            <a:chOff x="1327445" y="1748780"/>
            <a:chExt cx="978993" cy="739500"/>
          </a:xfrm>
        </p:grpSpPr>
        <p:sp>
          <p:nvSpPr>
            <p:cNvPr id="7" name="Oval 6">
              <a:extLst>
                <a:ext uri="{FF2B5EF4-FFF2-40B4-BE49-F238E27FC236}">
                  <a16:creationId xmlns:a16="http://schemas.microsoft.com/office/drawing/2014/main" id="{9E95C891-DD49-4851-904E-0F23C1DBC365}"/>
                </a:ext>
              </a:extLst>
            </p:cNvPr>
            <p:cNvSpPr/>
            <p:nvPr/>
          </p:nvSpPr>
          <p:spPr>
            <a:xfrm>
              <a:off x="1327445" y="1748780"/>
              <a:ext cx="792579" cy="739500"/>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dirty="0">
                <a:solidFill>
                  <a:srgbClr val="000000"/>
                </a:solidFill>
                <a:latin typeface="Arial"/>
              </a:endParaRPr>
            </a:p>
          </p:txBody>
        </p:sp>
        <p:cxnSp>
          <p:nvCxnSpPr>
            <p:cNvPr id="8" name="Straight Connector 7">
              <a:extLst>
                <a:ext uri="{FF2B5EF4-FFF2-40B4-BE49-F238E27FC236}">
                  <a16:creationId xmlns:a16="http://schemas.microsoft.com/office/drawing/2014/main" id="{6D133801-B23B-4FC2-8205-C60060EFBDDE}"/>
                </a:ext>
              </a:extLst>
            </p:cNvPr>
            <p:cNvCxnSpPr>
              <a:cxnSpLocks/>
            </p:cNvCxnSpPr>
            <p:nvPr/>
          </p:nvCxnSpPr>
          <p:spPr>
            <a:xfrm>
              <a:off x="2306438" y="1748780"/>
              <a:ext cx="0" cy="739500"/>
            </a:xfrm>
            <a:prstGeom prst="line">
              <a:avLst/>
            </a:prstGeom>
            <a:ln w="19050">
              <a:solidFill>
                <a:srgbClr val="287DB2"/>
              </a:solidFill>
            </a:ln>
          </p:spPr>
          <p:style>
            <a:lnRef idx="1">
              <a:schemeClr val="accent1"/>
            </a:lnRef>
            <a:fillRef idx="0">
              <a:schemeClr val="accent1"/>
            </a:fillRef>
            <a:effectRef idx="0">
              <a:schemeClr val="accent1"/>
            </a:effectRef>
            <a:fontRef idx="minor">
              <a:schemeClr val="tx1"/>
            </a:fontRef>
          </p:style>
        </p:cxnSp>
        <p:pic>
          <p:nvPicPr>
            <p:cNvPr id="9" name="Graphic 8" descr="Bullseye">
              <a:extLst>
                <a:ext uri="{FF2B5EF4-FFF2-40B4-BE49-F238E27FC236}">
                  <a16:creationId xmlns:a16="http://schemas.microsoft.com/office/drawing/2014/main" id="{359C173B-482E-41FC-B2A0-69B9E3DB727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99796" y="1819442"/>
              <a:ext cx="641110" cy="598175"/>
            </a:xfrm>
            <a:prstGeom prst="rect">
              <a:avLst/>
            </a:prstGeom>
          </p:spPr>
        </p:pic>
      </p:grpSp>
      <p:grpSp>
        <p:nvGrpSpPr>
          <p:cNvPr id="16" name="Group 15">
            <a:extLst>
              <a:ext uri="{FF2B5EF4-FFF2-40B4-BE49-F238E27FC236}">
                <a16:creationId xmlns:a16="http://schemas.microsoft.com/office/drawing/2014/main" id="{83A5B564-3EAB-481F-8AC4-2F09A13927C1}"/>
              </a:ext>
              <a:ext uri="{C183D7F6-B498-43B3-948B-1728B52AA6E4}">
                <adec:decorative xmlns:adec="http://schemas.microsoft.com/office/drawing/2017/decorative" val="1"/>
              </a:ext>
            </a:extLst>
          </p:cNvPr>
          <p:cNvGrpSpPr/>
          <p:nvPr/>
        </p:nvGrpSpPr>
        <p:grpSpPr>
          <a:xfrm>
            <a:off x="4685659" y="2304174"/>
            <a:ext cx="985636" cy="984275"/>
            <a:chOff x="1339070" y="3225952"/>
            <a:chExt cx="985636" cy="984275"/>
          </a:xfrm>
        </p:grpSpPr>
        <p:sp>
          <p:nvSpPr>
            <p:cNvPr id="17" name="Oval 16">
              <a:extLst>
                <a:ext uri="{FF2B5EF4-FFF2-40B4-BE49-F238E27FC236}">
                  <a16:creationId xmlns:a16="http://schemas.microsoft.com/office/drawing/2014/main" id="{93DBAA10-BEDD-41F7-BA6D-F78A611B9544}"/>
                </a:ext>
              </a:extLst>
            </p:cNvPr>
            <p:cNvSpPr/>
            <p:nvPr/>
          </p:nvSpPr>
          <p:spPr>
            <a:xfrm>
              <a:off x="1339070" y="3348339"/>
              <a:ext cx="792579" cy="771918"/>
            </a:xfrm>
            <a:prstGeom prst="ellipse">
              <a:avLst/>
            </a:prstGeom>
            <a:noFill/>
            <a:ln w="57150">
              <a:solidFill>
                <a:srgbClr val="287DB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675">
                <a:solidFill>
                  <a:srgbClr val="000000"/>
                </a:solidFill>
                <a:latin typeface="Arial"/>
              </a:endParaRPr>
            </a:p>
          </p:txBody>
        </p:sp>
        <p:sp>
          <p:nvSpPr>
            <p:cNvPr id="18" name="Freeform 195">
              <a:extLst>
                <a:ext uri="{FF2B5EF4-FFF2-40B4-BE49-F238E27FC236}">
                  <a16:creationId xmlns:a16="http://schemas.microsoft.com/office/drawing/2014/main" id="{D8259C4F-7EF6-44FA-A701-EEE0E348D9EF}"/>
                </a:ext>
              </a:extLst>
            </p:cNvPr>
            <p:cNvSpPr>
              <a:spLocks noChangeAspect="1"/>
            </p:cNvSpPr>
            <p:nvPr/>
          </p:nvSpPr>
          <p:spPr bwMode="auto">
            <a:xfrm>
              <a:off x="1478965" y="3574279"/>
              <a:ext cx="500747" cy="391651"/>
            </a:xfrm>
            <a:custGeom>
              <a:avLst/>
              <a:gdLst>
                <a:gd name="connsiteX0" fmla="*/ 1096819 w 1363452"/>
                <a:gd name="connsiteY0" fmla="*/ 877888 h 1154113"/>
                <a:gd name="connsiteX1" fmla="*/ 1054707 w 1363452"/>
                <a:gd name="connsiteY1" fmla="*/ 929919 h 1154113"/>
                <a:gd name="connsiteX2" fmla="*/ 1288107 w 1363452"/>
                <a:gd name="connsiteY2" fmla="*/ 1122363 h 1154113"/>
                <a:gd name="connsiteX3" fmla="*/ 1313802 w 1363452"/>
                <a:gd name="connsiteY3" fmla="*/ 1101693 h 1154113"/>
                <a:gd name="connsiteX4" fmla="*/ 1314516 w 1363452"/>
                <a:gd name="connsiteY4" fmla="*/ 1100980 h 1154113"/>
                <a:gd name="connsiteX5" fmla="*/ 1315230 w 1363452"/>
                <a:gd name="connsiteY5" fmla="*/ 1100268 h 1154113"/>
                <a:gd name="connsiteX6" fmla="*/ 1330932 w 1363452"/>
                <a:gd name="connsiteY6" fmla="*/ 1071045 h 1154113"/>
                <a:gd name="connsiteX7" fmla="*/ 1096819 w 1363452"/>
                <a:gd name="connsiteY7" fmla="*/ 877888 h 1154113"/>
                <a:gd name="connsiteX8" fmla="*/ 1093256 w 1363452"/>
                <a:gd name="connsiteY8" fmla="*/ 838848 h 1154113"/>
                <a:gd name="connsiteX9" fmla="*/ 1104637 w 1363452"/>
                <a:gd name="connsiteY9" fmla="*/ 842334 h 1154113"/>
                <a:gd name="connsiteX10" fmla="*/ 1355565 w 1363452"/>
                <a:gd name="connsiteY10" fmla="*/ 1048995 h 1154113"/>
                <a:gd name="connsiteX11" fmla="*/ 1339792 w 1363452"/>
                <a:gd name="connsiteY11" fmla="*/ 1120504 h 1154113"/>
                <a:gd name="connsiteX12" fmla="*/ 1286739 w 1363452"/>
                <a:gd name="connsiteY12" fmla="*/ 1154113 h 1154113"/>
                <a:gd name="connsiteX13" fmla="*/ 1272400 w 1363452"/>
                <a:gd name="connsiteY13" fmla="*/ 1149823 h 1154113"/>
                <a:gd name="connsiteX14" fmla="*/ 1022190 w 1363452"/>
                <a:gd name="connsiteY14" fmla="*/ 943162 h 1154113"/>
                <a:gd name="connsiteX15" fmla="*/ 1020039 w 1363452"/>
                <a:gd name="connsiteY15" fmla="*/ 920994 h 1154113"/>
                <a:gd name="connsiteX16" fmla="*/ 1082412 w 1363452"/>
                <a:gd name="connsiteY16" fmla="*/ 844479 h 1154113"/>
                <a:gd name="connsiteX17" fmla="*/ 1093256 w 1363452"/>
                <a:gd name="connsiteY17" fmla="*/ 838848 h 1154113"/>
                <a:gd name="connsiteX18" fmla="*/ 126043 w 1363452"/>
                <a:gd name="connsiteY18" fmla="*/ 801687 h 1154113"/>
                <a:gd name="connsiteX19" fmla="*/ 185273 w 1363452"/>
                <a:gd name="connsiteY19" fmla="*/ 849550 h 1154113"/>
                <a:gd name="connsiteX20" fmla="*/ 188128 w 1363452"/>
                <a:gd name="connsiteY20" fmla="*/ 849550 h 1154113"/>
                <a:gd name="connsiteX21" fmla="*/ 246645 w 1363452"/>
                <a:gd name="connsiteY21" fmla="*/ 801687 h 1154113"/>
                <a:gd name="connsiteX22" fmla="*/ 327284 w 1363452"/>
                <a:gd name="connsiteY22" fmla="*/ 814546 h 1154113"/>
                <a:gd name="connsiteX23" fmla="*/ 372242 w 1363452"/>
                <a:gd name="connsiteY23" fmla="*/ 880268 h 1154113"/>
                <a:gd name="connsiteX24" fmla="*/ 367960 w 1363452"/>
                <a:gd name="connsiteY24" fmla="*/ 887412 h 1154113"/>
                <a:gd name="connsiteX25" fmla="*/ 4728 w 1363452"/>
                <a:gd name="connsiteY25" fmla="*/ 887412 h 1154113"/>
                <a:gd name="connsiteX26" fmla="*/ 446 w 1363452"/>
                <a:gd name="connsiteY26" fmla="*/ 880268 h 1154113"/>
                <a:gd name="connsiteX27" fmla="*/ 45404 w 1363452"/>
                <a:gd name="connsiteY27" fmla="*/ 814546 h 1154113"/>
                <a:gd name="connsiteX28" fmla="*/ 126043 w 1363452"/>
                <a:gd name="connsiteY28" fmla="*/ 801687 h 1154113"/>
                <a:gd name="connsiteX29" fmla="*/ 86331 w 1363452"/>
                <a:gd name="connsiteY29" fmla="*/ 687387 h 1154113"/>
                <a:gd name="connsiteX30" fmla="*/ 97046 w 1363452"/>
                <a:gd name="connsiteY30" fmla="*/ 692364 h 1154113"/>
                <a:gd name="connsiteX31" fmla="*/ 107048 w 1363452"/>
                <a:gd name="connsiteY31" fmla="*/ 704450 h 1154113"/>
                <a:gd name="connsiteX32" fmla="*/ 109191 w 1363452"/>
                <a:gd name="connsiteY32" fmla="*/ 706583 h 1154113"/>
                <a:gd name="connsiteX33" fmla="*/ 138480 w 1363452"/>
                <a:gd name="connsiteY33" fmla="*/ 768437 h 1154113"/>
                <a:gd name="connsiteX34" fmla="*/ 186343 w 1363452"/>
                <a:gd name="connsiteY34" fmla="*/ 791899 h 1154113"/>
                <a:gd name="connsiteX35" fmla="*/ 233492 w 1363452"/>
                <a:gd name="connsiteY35" fmla="*/ 768437 h 1154113"/>
                <a:gd name="connsiteX36" fmla="*/ 264210 w 1363452"/>
                <a:gd name="connsiteY36" fmla="*/ 706583 h 1154113"/>
                <a:gd name="connsiteX37" fmla="*/ 266353 w 1363452"/>
                <a:gd name="connsiteY37" fmla="*/ 704450 h 1154113"/>
                <a:gd name="connsiteX38" fmla="*/ 275640 w 1363452"/>
                <a:gd name="connsiteY38" fmla="*/ 692364 h 1154113"/>
                <a:gd name="connsiteX39" fmla="*/ 286356 w 1363452"/>
                <a:gd name="connsiteY39" fmla="*/ 687387 h 1154113"/>
                <a:gd name="connsiteX40" fmla="*/ 286356 w 1363452"/>
                <a:gd name="connsiteY40" fmla="*/ 688098 h 1154113"/>
                <a:gd name="connsiteX41" fmla="*/ 272068 w 1363452"/>
                <a:gd name="connsiteY41" fmla="*/ 710849 h 1154113"/>
                <a:gd name="connsiteX42" fmla="*/ 241350 w 1363452"/>
                <a:gd name="connsiteY42" fmla="*/ 773414 h 1154113"/>
                <a:gd name="connsiteX43" fmla="*/ 241350 w 1363452"/>
                <a:gd name="connsiteY43" fmla="*/ 793321 h 1154113"/>
                <a:gd name="connsiteX44" fmla="*/ 239921 w 1363452"/>
                <a:gd name="connsiteY44" fmla="*/ 795454 h 1154113"/>
                <a:gd name="connsiteX45" fmla="*/ 232063 w 1363452"/>
                <a:gd name="connsiteY45" fmla="*/ 803275 h 1154113"/>
                <a:gd name="connsiteX46" fmla="*/ 232063 w 1363452"/>
                <a:gd name="connsiteY46" fmla="*/ 780524 h 1154113"/>
                <a:gd name="connsiteX47" fmla="*/ 186343 w 1363452"/>
                <a:gd name="connsiteY47" fmla="*/ 801142 h 1154113"/>
                <a:gd name="connsiteX48" fmla="*/ 139909 w 1363452"/>
                <a:gd name="connsiteY48" fmla="*/ 780524 h 1154113"/>
                <a:gd name="connsiteX49" fmla="*/ 139909 w 1363452"/>
                <a:gd name="connsiteY49" fmla="*/ 803275 h 1154113"/>
                <a:gd name="connsiteX50" fmla="*/ 132051 w 1363452"/>
                <a:gd name="connsiteY50" fmla="*/ 795454 h 1154113"/>
                <a:gd name="connsiteX51" fmla="*/ 130622 w 1363452"/>
                <a:gd name="connsiteY51" fmla="*/ 793321 h 1154113"/>
                <a:gd name="connsiteX52" fmla="*/ 130622 w 1363452"/>
                <a:gd name="connsiteY52" fmla="*/ 773414 h 1154113"/>
                <a:gd name="connsiteX53" fmla="*/ 101333 w 1363452"/>
                <a:gd name="connsiteY53" fmla="*/ 710849 h 1154113"/>
                <a:gd name="connsiteX54" fmla="*/ 86331 w 1363452"/>
                <a:gd name="connsiteY54" fmla="*/ 688098 h 1154113"/>
                <a:gd name="connsiteX55" fmla="*/ 86331 w 1363452"/>
                <a:gd name="connsiteY55" fmla="*/ 687387 h 1154113"/>
                <a:gd name="connsiteX56" fmla="*/ 548294 w 1363452"/>
                <a:gd name="connsiteY56" fmla="*/ 525462 h 1154113"/>
                <a:gd name="connsiteX57" fmla="*/ 562627 w 1363452"/>
                <a:gd name="connsiteY57" fmla="*/ 532613 h 1154113"/>
                <a:gd name="connsiteX58" fmla="*/ 576960 w 1363452"/>
                <a:gd name="connsiteY58" fmla="*/ 548345 h 1154113"/>
                <a:gd name="connsiteX59" fmla="*/ 579827 w 1363452"/>
                <a:gd name="connsiteY59" fmla="*/ 551205 h 1154113"/>
                <a:gd name="connsiteX60" fmla="*/ 620677 w 1363452"/>
                <a:gd name="connsiteY60" fmla="*/ 635586 h 1154113"/>
                <a:gd name="connsiteX61" fmla="*/ 685177 w 1363452"/>
                <a:gd name="connsiteY61" fmla="*/ 667765 h 1154113"/>
                <a:gd name="connsiteX62" fmla="*/ 750394 w 1363452"/>
                <a:gd name="connsiteY62" fmla="*/ 635586 h 1154113"/>
                <a:gd name="connsiteX63" fmla="*/ 791244 w 1363452"/>
                <a:gd name="connsiteY63" fmla="*/ 551205 h 1154113"/>
                <a:gd name="connsiteX64" fmla="*/ 794110 w 1363452"/>
                <a:gd name="connsiteY64" fmla="*/ 548345 h 1154113"/>
                <a:gd name="connsiteX65" fmla="*/ 807727 w 1363452"/>
                <a:gd name="connsiteY65" fmla="*/ 532613 h 1154113"/>
                <a:gd name="connsiteX66" fmla="*/ 821344 w 1363452"/>
                <a:gd name="connsiteY66" fmla="*/ 525462 h 1154113"/>
                <a:gd name="connsiteX67" fmla="*/ 821344 w 1363452"/>
                <a:gd name="connsiteY67" fmla="*/ 526177 h 1154113"/>
                <a:gd name="connsiteX68" fmla="*/ 801994 w 1363452"/>
                <a:gd name="connsiteY68" fmla="*/ 557641 h 1154113"/>
                <a:gd name="connsiteX69" fmla="*/ 761144 w 1363452"/>
                <a:gd name="connsiteY69" fmla="*/ 642737 h 1154113"/>
                <a:gd name="connsiteX70" fmla="*/ 761144 w 1363452"/>
                <a:gd name="connsiteY70" fmla="*/ 669910 h 1154113"/>
                <a:gd name="connsiteX71" fmla="*/ 758994 w 1363452"/>
                <a:gd name="connsiteY71" fmla="*/ 672770 h 1154113"/>
                <a:gd name="connsiteX72" fmla="*/ 748244 w 1363452"/>
                <a:gd name="connsiteY72" fmla="*/ 684212 h 1154113"/>
                <a:gd name="connsiteX73" fmla="*/ 748244 w 1363452"/>
                <a:gd name="connsiteY73" fmla="*/ 653463 h 1154113"/>
                <a:gd name="connsiteX74" fmla="*/ 685177 w 1363452"/>
                <a:gd name="connsiteY74" fmla="*/ 680636 h 1154113"/>
                <a:gd name="connsiteX75" fmla="*/ 622827 w 1363452"/>
                <a:gd name="connsiteY75" fmla="*/ 653463 h 1154113"/>
                <a:gd name="connsiteX76" fmla="*/ 622827 w 1363452"/>
                <a:gd name="connsiteY76" fmla="*/ 684212 h 1154113"/>
                <a:gd name="connsiteX77" fmla="*/ 612077 w 1363452"/>
                <a:gd name="connsiteY77" fmla="*/ 672770 h 1154113"/>
                <a:gd name="connsiteX78" fmla="*/ 609927 w 1363452"/>
                <a:gd name="connsiteY78" fmla="*/ 669910 h 1154113"/>
                <a:gd name="connsiteX79" fmla="*/ 609927 w 1363452"/>
                <a:gd name="connsiteY79" fmla="*/ 642737 h 1154113"/>
                <a:gd name="connsiteX80" fmla="*/ 568360 w 1363452"/>
                <a:gd name="connsiteY80" fmla="*/ 557641 h 1154113"/>
                <a:gd name="connsiteX81" fmla="*/ 548294 w 1363452"/>
                <a:gd name="connsiteY81" fmla="*/ 526892 h 1154113"/>
                <a:gd name="connsiteX82" fmla="*/ 548294 w 1363452"/>
                <a:gd name="connsiteY82" fmla="*/ 525462 h 1154113"/>
                <a:gd name="connsiteX83" fmla="*/ 682874 w 1363452"/>
                <a:gd name="connsiteY83" fmla="*/ 292100 h 1154113"/>
                <a:gd name="connsiteX84" fmla="*/ 387956 w 1363452"/>
                <a:gd name="connsiteY84" fmla="*/ 586582 h 1154113"/>
                <a:gd name="connsiteX85" fmla="*/ 441513 w 1363452"/>
                <a:gd name="connsiteY85" fmla="*/ 756283 h 1154113"/>
                <a:gd name="connsiteX86" fmla="*/ 442227 w 1363452"/>
                <a:gd name="connsiteY86" fmla="*/ 755570 h 1154113"/>
                <a:gd name="connsiteX87" fmla="*/ 490785 w 1363452"/>
                <a:gd name="connsiteY87" fmla="*/ 697814 h 1154113"/>
                <a:gd name="connsiteX88" fmla="*/ 599326 w 1363452"/>
                <a:gd name="connsiteY88" fmla="*/ 680702 h 1154113"/>
                <a:gd name="connsiteX89" fmla="*/ 600754 w 1363452"/>
                <a:gd name="connsiteY89" fmla="*/ 682841 h 1154113"/>
                <a:gd name="connsiteX90" fmla="*/ 655739 w 1363452"/>
                <a:gd name="connsiteY90" fmla="*/ 866803 h 1154113"/>
                <a:gd name="connsiteX91" fmla="*/ 657881 w 1363452"/>
                <a:gd name="connsiteY91" fmla="*/ 874646 h 1154113"/>
                <a:gd name="connsiteX92" fmla="*/ 664308 w 1363452"/>
                <a:gd name="connsiteY92" fmla="*/ 879637 h 1154113"/>
                <a:gd name="connsiteX93" fmla="*/ 672163 w 1363452"/>
                <a:gd name="connsiteY93" fmla="*/ 880350 h 1154113"/>
                <a:gd name="connsiteX94" fmla="*/ 694300 w 1363452"/>
                <a:gd name="connsiteY94" fmla="*/ 880350 h 1154113"/>
                <a:gd name="connsiteX95" fmla="*/ 702155 w 1363452"/>
                <a:gd name="connsiteY95" fmla="*/ 879637 h 1154113"/>
                <a:gd name="connsiteX96" fmla="*/ 708581 w 1363452"/>
                <a:gd name="connsiteY96" fmla="*/ 874646 h 1154113"/>
                <a:gd name="connsiteX97" fmla="*/ 712866 w 1363452"/>
                <a:gd name="connsiteY97" fmla="*/ 861098 h 1154113"/>
                <a:gd name="connsiteX98" fmla="*/ 766422 w 1363452"/>
                <a:gd name="connsiteY98" fmla="*/ 682841 h 1154113"/>
                <a:gd name="connsiteX99" fmla="*/ 769279 w 1363452"/>
                <a:gd name="connsiteY99" fmla="*/ 680702 h 1154113"/>
                <a:gd name="connsiteX100" fmla="*/ 877106 w 1363452"/>
                <a:gd name="connsiteY100" fmla="*/ 697814 h 1154113"/>
                <a:gd name="connsiteX101" fmla="*/ 906383 w 1363452"/>
                <a:gd name="connsiteY101" fmla="*/ 722770 h 1154113"/>
                <a:gd name="connsiteX102" fmla="*/ 925664 w 1363452"/>
                <a:gd name="connsiteY102" fmla="*/ 754144 h 1154113"/>
                <a:gd name="connsiteX103" fmla="*/ 927806 w 1363452"/>
                <a:gd name="connsiteY103" fmla="*/ 752005 h 1154113"/>
                <a:gd name="connsiteX104" fmla="*/ 978506 w 1363452"/>
                <a:gd name="connsiteY104" fmla="*/ 586582 h 1154113"/>
                <a:gd name="connsiteX105" fmla="*/ 682874 w 1363452"/>
                <a:gd name="connsiteY105" fmla="*/ 292100 h 1154113"/>
                <a:gd name="connsiteX106" fmla="*/ 713786 w 1363452"/>
                <a:gd name="connsiteY106" fmla="*/ 261703 h 1154113"/>
                <a:gd name="connsiteX107" fmla="*/ 890913 w 1363452"/>
                <a:gd name="connsiteY107" fmla="*/ 334603 h 1154113"/>
                <a:gd name="connsiteX108" fmla="*/ 969477 w 1363452"/>
                <a:gd name="connsiteY108" fmla="*/ 742699 h 1154113"/>
                <a:gd name="connsiteX109" fmla="*/ 1055184 w 1363452"/>
                <a:gd name="connsiteY109" fmla="*/ 813455 h 1154113"/>
                <a:gd name="connsiteX110" fmla="*/ 1056612 w 1363452"/>
                <a:gd name="connsiteY110" fmla="*/ 826320 h 1154113"/>
                <a:gd name="connsiteX111" fmla="*/ 995189 w 1363452"/>
                <a:gd name="connsiteY111" fmla="*/ 901364 h 1154113"/>
                <a:gd name="connsiteX112" fmla="*/ 982333 w 1363452"/>
                <a:gd name="connsiteY112" fmla="*/ 902793 h 1154113"/>
                <a:gd name="connsiteX113" fmla="*/ 898055 w 1363452"/>
                <a:gd name="connsiteY113" fmla="*/ 832752 h 1154113"/>
                <a:gd name="connsiteX114" fmla="*/ 478092 w 1363452"/>
                <a:gd name="connsiteY114" fmla="*/ 839184 h 1154113"/>
                <a:gd name="connsiteX115" fmla="*/ 431668 w 1363452"/>
                <a:gd name="connsiteY115" fmla="*/ 380344 h 1154113"/>
                <a:gd name="connsiteX116" fmla="*/ 713786 w 1363452"/>
                <a:gd name="connsiteY116" fmla="*/ 261703 h 1154113"/>
                <a:gd name="connsiteX117" fmla="*/ 83156 w 1363452"/>
                <a:gd name="connsiteY117" fmla="*/ 203200 h 1154113"/>
                <a:gd name="connsiteX118" fmla="*/ 93880 w 1363452"/>
                <a:gd name="connsiteY118" fmla="*/ 207498 h 1154113"/>
                <a:gd name="connsiteX119" fmla="*/ 103174 w 1363452"/>
                <a:gd name="connsiteY119" fmla="*/ 218959 h 1154113"/>
                <a:gd name="connsiteX120" fmla="*/ 105319 w 1363452"/>
                <a:gd name="connsiteY120" fmla="*/ 221108 h 1154113"/>
                <a:gd name="connsiteX121" fmla="*/ 136776 w 1363452"/>
                <a:gd name="connsiteY121" fmla="*/ 284859 h 1154113"/>
                <a:gd name="connsiteX122" fmla="*/ 183962 w 1363452"/>
                <a:gd name="connsiteY122" fmla="*/ 308498 h 1154113"/>
                <a:gd name="connsiteX123" fmla="*/ 231863 w 1363452"/>
                <a:gd name="connsiteY123" fmla="*/ 284859 h 1154113"/>
                <a:gd name="connsiteX124" fmla="*/ 262606 w 1363452"/>
                <a:gd name="connsiteY124" fmla="*/ 221108 h 1154113"/>
                <a:gd name="connsiteX125" fmla="*/ 264750 w 1363452"/>
                <a:gd name="connsiteY125" fmla="*/ 218959 h 1154113"/>
                <a:gd name="connsiteX126" fmla="*/ 273330 w 1363452"/>
                <a:gd name="connsiteY126" fmla="*/ 207498 h 1154113"/>
                <a:gd name="connsiteX127" fmla="*/ 284769 w 1363452"/>
                <a:gd name="connsiteY127" fmla="*/ 203200 h 1154113"/>
                <a:gd name="connsiteX128" fmla="*/ 284054 w 1363452"/>
                <a:gd name="connsiteY128" fmla="*/ 203916 h 1154113"/>
                <a:gd name="connsiteX129" fmla="*/ 270470 w 1363452"/>
                <a:gd name="connsiteY129" fmla="*/ 226838 h 1154113"/>
                <a:gd name="connsiteX130" fmla="*/ 240442 w 1363452"/>
                <a:gd name="connsiteY130" fmla="*/ 289873 h 1154113"/>
                <a:gd name="connsiteX131" fmla="*/ 240442 w 1363452"/>
                <a:gd name="connsiteY131" fmla="*/ 309930 h 1154113"/>
                <a:gd name="connsiteX132" fmla="*/ 238298 w 1363452"/>
                <a:gd name="connsiteY132" fmla="*/ 312079 h 1154113"/>
                <a:gd name="connsiteX133" fmla="*/ 230433 w 1363452"/>
                <a:gd name="connsiteY133" fmla="*/ 320675 h 1154113"/>
                <a:gd name="connsiteX134" fmla="*/ 230433 w 1363452"/>
                <a:gd name="connsiteY134" fmla="*/ 297037 h 1154113"/>
                <a:gd name="connsiteX135" fmla="*/ 183962 w 1363452"/>
                <a:gd name="connsiteY135" fmla="*/ 317810 h 1154113"/>
                <a:gd name="connsiteX136" fmla="*/ 137491 w 1363452"/>
                <a:gd name="connsiteY136" fmla="*/ 297037 h 1154113"/>
                <a:gd name="connsiteX137" fmla="*/ 137491 w 1363452"/>
                <a:gd name="connsiteY137" fmla="*/ 320675 h 1154113"/>
                <a:gd name="connsiteX138" fmla="*/ 129627 w 1363452"/>
                <a:gd name="connsiteY138" fmla="*/ 312079 h 1154113"/>
                <a:gd name="connsiteX139" fmla="*/ 128197 w 1363452"/>
                <a:gd name="connsiteY139" fmla="*/ 309930 h 1154113"/>
                <a:gd name="connsiteX140" fmla="*/ 128197 w 1363452"/>
                <a:gd name="connsiteY140" fmla="*/ 289873 h 1154113"/>
                <a:gd name="connsiteX141" fmla="*/ 98169 w 1363452"/>
                <a:gd name="connsiteY141" fmla="*/ 226838 h 1154113"/>
                <a:gd name="connsiteX142" fmla="*/ 83156 w 1363452"/>
                <a:gd name="connsiteY142" fmla="*/ 203916 h 1154113"/>
                <a:gd name="connsiteX143" fmla="*/ 83156 w 1363452"/>
                <a:gd name="connsiteY143" fmla="*/ 203200 h 1154113"/>
                <a:gd name="connsiteX144" fmla="*/ 1271480 w 1363452"/>
                <a:gd name="connsiteY144" fmla="*/ 198437 h 1154113"/>
                <a:gd name="connsiteX145" fmla="*/ 1271480 w 1363452"/>
                <a:gd name="connsiteY145" fmla="*/ 199870 h 1154113"/>
                <a:gd name="connsiteX146" fmla="*/ 1257192 w 1363452"/>
                <a:gd name="connsiteY146" fmla="*/ 225660 h 1154113"/>
                <a:gd name="connsiteX147" fmla="*/ 1228617 w 1363452"/>
                <a:gd name="connsiteY147" fmla="*/ 289421 h 1154113"/>
                <a:gd name="connsiteX148" fmla="*/ 1228617 w 1363452"/>
                <a:gd name="connsiteY148" fmla="*/ 328824 h 1154113"/>
                <a:gd name="connsiteX149" fmla="*/ 1217902 w 1363452"/>
                <a:gd name="connsiteY149" fmla="*/ 338137 h 1154113"/>
                <a:gd name="connsiteX150" fmla="*/ 1217902 w 1363452"/>
                <a:gd name="connsiteY150" fmla="*/ 298734 h 1154113"/>
                <a:gd name="connsiteX151" fmla="*/ 1171467 w 1363452"/>
                <a:gd name="connsiteY151" fmla="*/ 320943 h 1154113"/>
                <a:gd name="connsiteX152" fmla="*/ 1125747 w 1363452"/>
                <a:gd name="connsiteY152" fmla="*/ 299451 h 1154113"/>
                <a:gd name="connsiteX153" fmla="*/ 1125747 w 1363452"/>
                <a:gd name="connsiteY153" fmla="*/ 338137 h 1154113"/>
                <a:gd name="connsiteX154" fmla="*/ 1115032 w 1363452"/>
                <a:gd name="connsiteY154" fmla="*/ 329540 h 1154113"/>
                <a:gd name="connsiteX155" fmla="*/ 1115032 w 1363452"/>
                <a:gd name="connsiteY155" fmla="*/ 289421 h 1154113"/>
                <a:gd name="connsiteX156" fmla="*/ 1087171 w 1363452"/>
                <a:gd name="connsiteY156" fmla="*/ 225660 h 1154113"/>
                <a:gd name="connsiteX157" fmla="*/ 1072169 w 1363452"/>
                <a:gd name="connsiteY157" fmla="*/ 200586 h 1154113"/>
                <a:gd name="connsiteX158" fmla="*/ 1072169 w 1363452"/>
                <a:gd name="connsiteY158" fmla="*/ 199870 h 1154113"/>
                <a:gd name="connsiteX159" fmla="*/ 1084314 w 1363452"/>
                <a:gd name="connsiteY159" fmla="*/ 205601 h 1154113"/>
                <a:gd name="connsiteX160" fmla="*/ 1094315 w 1363452"/>
                <a:gd name="connsiteY160" fmla="*/ 217064 h 1154113"/>
                <a:gd name="connsiteX161" fmla="*/ 1095744 w 1363452"/>
                <a:gd name="connsiteY161" fmla="*/ 219929 h 1154113"/>
                <a:gd name="connsiteX162" fmla="*/ 1124319 w 1363452"/>
                <a:gd name="connsiteY162" fmla="*/ 284406 h 1154113"/>
                <a:gd name="connsiteX163" fmla="*/ 1171467 w 1363452"/>
                <a:gd name="connsiteY163" fmla="*/ 310197 h 1154113"/>
                <a:gd name="connsiteX164" fmla="*/ 1219330 w 1363452"/>
                <a:gd name="connsiteY164" fmla="*/ 284406 h 1154113"/>
                <a:gd name="connsiteX165" fmla="*/ 1247905 w 1363452"/>
                <a:gd name="connsiteY165" fmla="*/ 219929 h 1154113"/>
                <a:gd name="connsiteX166" fmla="*/ 1250049 w 1363452"/>
                <a:gd name="connsiteY166" fmla="*/ 217064 h 1154113"/>
                <a:gd name="connsiteX167" fmla="*/ 1260050 w 1363452"/>
                <a:gd name="connsiteY167" fmla="*/ 204168 h 1154113"/>
                <a:gd name="connsiteX168" fmla="*/ 1271480 w 1363452"/>
                <a:gd name="connsiteY168" fmla="*/ 198437 h 1154113"/>
                <a:gd name="connsiteX169" fmla="*/ 603826 w 1363452"/>
                <a:gd name="connsiteY169" fmla="*/ 114300 h 1154113"/>
                <a:gd name="connsiteX170" fmla="*/ 662317 w 1363452"/>
                <a:gd name="connsiteY170" fmla="*/ 162877 h 1154113"/>
                <a:gd name="connsiteX171" fmla="*/ 665171 w 1363452"/>
                <a:gd name="connsiteY171" fmla="*/ 162877 h 1154113"/>
                <a:gd name="connsiteX172" fmla="*/ 724376 w 1363452"/>
                <a:gd name="connsiteY172" fmla="*/ 114300 h 1154113"/>
                <a:gd name="connsiteX173" fmla="*/ 804267 w 1363452"/>
                <a:gd name="connsiteY173" fmla="*/ 128587 h 1154113"/>
                <a:gd name="connsiteX174" fmla="*/ 849205 w 1363452"/>
                <a:gd name="connsiteY174" fmla="*/ 194310 h 1154113"/>
                <a:gd name="connsiteX175" fmla="*/ 844926 w 1363452"/>
                <a:gd name="connsiteY175" fmla="*/ 200025 h 1154113"/>
                <a:gd name="connsiteX176" fmla="*/ 482562 w 1363452"/>
                <a:gd name="connsiteY176" fmla="*/ 200025 h 1154113"/>
                <a:gd name="connsiteX177" fmla="*/ 478282 w 1363452"/>
                <a:gd name="connsiteY177" fmla="*/ 194310 h 1154113"/>
                <a:gd name="connsiteX178" fmla="*/ 523221 w 1363452"/>
                <a:gd name="connsiteY178" fmla="*/ 128587 h 1154113"/>
                <a:gd name="connsiteX179" fmla="*/ 603826 w 1363452"/>
                <a:gd name="connsiteY179" fmla="*/ 114300 h 1154113"/>
                <a:gd name="connsiteX180" fmla="*/ 1170237 w 1363452"/>
                <a:gd name="connsiteY180" fmla="*/ 50800 h 1154113"/>
                <a:gd name="connsiteX181" fmla="*/ 1273781 w 1363452"/>
                <a:gd name="connsiteY181" fmla="*/ 148062 h 1154113"/>
                <a:gd name="connsiteX182" fmla="*/ 1270211 w 1363452"/>
                <a:gd name="connsiteY182" fmla="*/ 180244 h 1154113"/>
                <a:gd name="connsiteX183" fmla="*/ 1259499 w 1363452"/>
                <a:gd name="connsiteY183" fmla="*/ 194548 h 1154113"/>
                <a:gd name="connsiteX184" fmla="*/ 1258071 w 1363452"/>
                <a:gd name="connsiteY184" fmla="*/ 195263 h 1154113"/>
                <a:gd name="connsiteX185" fmla="*/ 1253072 w 1363452"/>
                <a:gd name="connsiteY185" fmla="*/ 195263 h 1154113"/>
                <a:gd name="connsiteX186" fmla="*/ 1251644 w 1363452"/>
                <a:gd name="connsiteY186" fmla="*/ 193117 h 1154113"/>
                <a:gd name="connsiteX187" fmla="*/ 1250216 w 1363452"/>
                <a:gd name="connsiteY187" fmla="*/ 128038 h 1154113"/>
                <a:gd name="connsiteX188" fmla="*/ 1246645 w 1363452"/>
                <a:gd name="connsiteY188" fmla="*/ 126607 h 1154113"/>
                <a:gd name="connsiteX189" fmla="*/ 1195944 w 1363452"/>
                <a:gd name="connsiteY189" fmla="*/ 133759 h 1154113"/>
                <a:gd name="connsiteX190" fmla="*/ 1153812 w 1363452"/>
                <a:gd name="connsiteY190" fmla="*/ 138765 h 1154113"/>
                <a:gd name="connsiteX191" fmla="*/ 1151670 w 1363452"/>
                <a:gd name="connsiteY191" fmla="*/ 135904 h 1154113"/>
                <a:gd name="connsiteX192" fmla="*/ 1156669 w 1363452"/>
                <a:gd name="connsiteY192" fmla="*/ 126607 h 1154113"/>
                <a:gd name="connsiteX193" fmla="*/ 1153812 w 1363452"/>
                <a:gd name="connsiteY193" fmla="*/ 123747 h 1154113"/>
                <a:gd name="connsiteX194" fmla="*/ 1114537 w 1363452"/>
                <a:gd name="connsiteY194" fmla="*/ 146632 h 1154113"/>
                <a:gd name="connsiteX195" fmla="*/ 1111680 w 1363452"/>
                <a:gd name="connsiteY195" fmla="*/ 145201 h 1154113"/>
                <a:gd name="connsiteX196" fmla="*/ 1113823 w 1363452"/>
                <a:gd name="connsiteY196" fmla="*/ 130898 h 1154113"/>
                <a:gd name="connsiteX197" fmla="*/ 1110966 w 1363452"/>
                <a:gd name="connsiteY197" fmla="*/ 129468 h 1154113"/>
                <a:gd name="connsiteX198" fmla="*/ 1088115 w 1363452"/>
                <a:gd name="connsiteY198" fmla="*/ 191687 h 1154113"/>
                <a:gd name="connsiteX199" fmla="*/ 1085973 w 1363452"/>
                <a:gd name="connsiteY199" fmla="*/ 193833 h 1154113"/>
                <a:gd name="connsiteX200" fmla="*/ 1083116 w 1363452"/>
                <a:gd name="connsiteY200" fmla="*/ 193117 h 1154113"/>
                <a:gd name="connsiteX201" fmla="*/ 1080974 w 1363452"/>
                <a:gd name="connsiteY201" fmla="*/ 192402 h 1154113"/>
                <a:gd name="connsiteX202" fmla="*/ 1071691 w 1363452"/>
                <a:gd name="connsiteY202" fmla="*/ 180960 h 1154113"/>
                <a:gd name="connsiteX203" fmla="*/ 1067406 w 1363452"/>
                <a:gd name="connsiteY203" fmla="*/ 148062 h 1154113"/>
                <a:gd name="connsiteX204" fmla="*/ 1170237 w 1363452"/>
                <a:gd name="connsiteY204" fmla="*/ 50800 h 1154113"/>
                <a:gd name="connsiteX205" fmla="*/ 182375 w 1363452"/>
                <a:gd name="connsiteY205" fmla="*/ 50800 h 1154113"/>
                <a:gd name="connsiteX206" fmla="*/ 281594 w 1363452"/>
                <a:gd name="connsiteY206" fmla="*/ 153349 h 1154113"/>
                <a:gd name="connsiteX207" fmla="*/ 277311 w 1363452"/>
                <a:gd name="connsiteY207" fmla="*/ 188245 h 1154113"/>
                <a:gd name="connsiteX208" fmla="*/ 277311 w 1363452"/>
                <a:gd name="connsiteY208" fmla="*/ 188957 h 1154113"/>
                <a:gd name="connsiteX209" fmla="*/ 267318 w 1363452"/>
                <a:gd name="connsiteY209" fmla="*/ 201776 h 1154113"/>
                <a:gd name="connsiteX210" fmla="*/ 260893 w 1363452"/>
                <a:gd name="connsiteY210" fmla="*/ 201776 h 1154113"/>
                <a:gd name="connsiteX211" fmla="*/ 236624 w 1363452"/>
                <a:gd name="connsiteY211" fmla="*/ 132697 h 1154113"/>
                <a:gd name="connsiteX212" fmla="*/ 106711 w 1363452"/>
                <a:gd name="connsiteY212" fmla="*/ 127712 h 1154113"/>
                <a:gd name="connsiteX213" fmla="*/ 105284 w 1363452"/>
                <a:gd name="connsiteY213" fmla="*/ 203200 h 1154113"/>
                <a:gd name="connsiteX214" fmla="*/ 98146 w 1363452"/>
                <a:gd name="connsiteY214" fmla="*/ 203200 h 1154113"/>
                <a:gd name="connsiteX215" fmla="*/ 87439 w 1363452"/>
                <a:gd name="connsiteY215" fmla="*/ 187533 h 1154113"/>
                <a:gd name="connsiteX216" fmla="*/ 83870 w 1363452"/>
                <a:gd name="connsiteY216" fmla="*/ 153349 h 1154113"/>
                <a:gd name="connsiteX217" fmla="*/ 182375 w 1363452"/>
                <a:gd name="connsiteY217" fmla="*/ 50800 h 1154113"/>
                <a:gd name="connsiteX218" fmla="*/ 764194 w 1363452"/>
                <a:gd name="connsiteY218" fmla="*/ 0 h 1154113"/>
                <a:gd name="connsiteX219" fmla="*/ 764194 w 1363452"/>
                <a:gd name="connsiteY219" fmla="*/ 715 h 1154113"/>
                <a:gd name="connsiteX220" fmla="*/ 749814 w 1363452"/>
                <a:gd name="connsiteY220" fmla="*/ 23607 h 1154113"/>
                <a:gd name="connsiteX221" fmla="*/ 719617 w 1363452"/>
                <a:gd name="connsiteY221" fmla="*/ 86558 h 1154113"/>
                <a:gd name="connsiteX222" fmla="*/ 719617 w 1363452"/>
                <a:gd name="connsiteY222" fmla="*/ 106588 h 1154113"/>
                <a:gd name="connsiteX223" fmla="*/ 718179 w 1363452"/>
                <a:gd name="connsiteY223" fmla="*/ 108734 h 1154113"/>
                <a:gd name="connsiteX224" fmla="*/ 710270 w 1363452"/>
                <a:gd name="connsiteY224" fmla="*/ 115888 h 1154113"/>
                <a:gd name="connsiteX225" fmla="*/ 710270 w 1363452"/>
                <a:gd name="connsiteY225" fmla="*/ 93712 h 1154113"/>
                <a:gd name="connsiteX226" fmla="*/ 664256 w 1363452"/>
                <a:gd name="connsiteY226" fmla="*/ 113742 h 1154113"/>
                <a:gd name="connsiteX227" fmla="*/ 618960 w 1363452"/>
                <a:gd name="connsiteY227" fmla="*/ 93712 h 1154113"/>
                <a:gd name="connsiteX228" fmla="*/ 618960 w 1363452"/>
                <a:gd name="connsiteY228" fmla="*/ 115888 h 1154113"/>
                <a:gd name="connsiteX229" fmla="*/ 611051 w 1363452"/>
                <a:gd name="connsiteY229" fmla="*/ 108734 h 1154113"/>
                <a:gd name="connsiteX230" fmla="*/ 609613 w 1363452"/>
                <a:gd name="connsiteY230" fmla="*/ 106588 h 1154113"/>
                <a:gd name="connsiteX231" fmla="*/ 609613 w 1363452"/>
                <a:gd name="connsiteY231" fmla="*/ 86558 h 1154113"/>
                <a:gd name="connsiteX232" fmla="*/ 580135 w 1363452"/>
                <a:gd name="connsiteY232" fmla="*/ 23607 h 1154113"/>
                <a:gd name="connsiteX233" fmla="*/ 565756 w 1363452"/>
                <a:gd name="connsiteY233" fmla="*/ 1431 h 1154113"/>
                <a:gd name="connsiteX234" fmla="*/ 565756 w 1363452"/>
                <a:gd name="connsiteY234" fmla="*/ 715 h 1154113"/>
                <a:gd name="connsiteX235" fmla="*/ 575821 w 1363452"/>
                <a:gd name="connsiteY235" fmla="*/ 5723 h 1154113"/>
                <a:gd name="connsiteX236" fmla="*/ 585887 w 1363452"/>
                <a:gd name="connsiteY236" fmla="*/ 15738 h 1154113"/>
                <a:gd name="connsiteX237" fmla="*/ 588044 w 1363452"/>
                <a:gd name="connsiteY237" fmla="*/ 18599 h 1154113"/>
                <a:gd name="connsiteX238" fmla="*/ 617522 w 1363452"/>
                <a:gd name="connsiteY238" fmla="*/ 81551 h 1154113"/>
                <a:gd name="connsiteX239" fmla="*/ 664256 w 1363452"/>
                <a:gd name="connsiteY239" fmla="*/ 104442 h 1154113"/>
                <a:gd name="connsiteX240" fmla="*/ 711708 w 1363452"/>
                <a:gd name="connsiteY240" fmla="*/ 81551 h 1154113"/>
                <a:gd name="connsiteX241" fmla="*/ 741186 w 1363452"/>
                <a:gd name="connsiteY241" fmla="*/ 18599 h 1154113"/>
                <a:gd name="connsiteX242" fmla="*/ 743343 w 1363452"/>
                <a:gd name="connsiteY242" fmla="*/ 15738 h 1154113"/>
                <a:gd name="connsiteX243" fmla="*/ 753409 w 1363452"/>
                <a:gd name="connsiteY243" fmla="*/ 5723 h 1154113"/>
                <a:gd name="connsiteX244" fmla="*/ 764194 w 1363452"/>
                <a:gd name="connsiteY244" fmla="*/ 0 h 1154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Lst>
              <a:rect l="l" t="t" r="r" b="b"/>
              <a:pathLst>
                <a:path w="1363452" h="1154113">
                  <a:moveTo>
                    <a:pt x="1096819" y="877888"/>
                  </a:moveTo>
                  <a:cubicBezTo>
                    <a:pt x="1096819" y="877888"/>
                    <a:pt x="1096819" y="877888"/>
                    <a:pt x="1054707" y="929919"/>
                  </a:cubicBezTo>
                  <a:cubicBezTo>
                    <a:pt x="1054707" y="929919"/>
                    <a:pt x="1054707" y="929919"/>
                    <a:pt x="1288107" y="1122363"/>
                  </a:cubicBezTo>
                  <a:cubicBezTo>
                    <a:pt x="1293103" y="1120938"/>
                    <a:pt x="1303096" y="1115236"/>
                    <a:pt x="1313802" y="1101693"/>
                  </a:cubicBezTo>
                  <a:cubicBezTo>
                    <a:pt x="1313802" y="1101693"/>
                    <a:pt x="1313802" y="1101693"/>
                    <a:pt x="1314516" y="1100980"/>
                  </a:cubicBezTo>
                  <a:lnTo>
                    <a:pt x="1315230" y="1100268"/>
                  </a:lnTo>
                  <a:cubicBezTo>
                    <a:pt x="1325936" y="1087438"/>
                    <a:pt x="1330218" y="1076034"/>
                    <a:pt x="1330932" y="1071045"/>
                  </a:cubicBezTo>
                  <a:cubicBezTo>
                    <a:pt x="1330932" y="1071045"/>
                    <a:pt x="1330932" y="1071045"/>
                    <a:pt x="1096819" y="877888"/>
                  </a:cubicBezTo>
                  <a:close/>
                  <a:moveTo>
                    <a:pt x="1093256" y="838848"/>
                  </a:moveTo>
                  <a:cubicBezTo>
                    <a:pt x="1097289" y="838401"/>
                    <a:pt x="1101411" y="839474"/>
                    <a:pt x="1104637" y="842334"/>
                  </a:cubicBezTo>
                  <a:cubicBezTo>
                    <a:pt x="1104637" y="842334"/>
                    <a:pt x="1104637" y="842334"/>
                    <a:pt x="1355565" y="1048995"/>
                  </a:cubicBezTo>
                  <a:cubicBezTo>
                    <a:pt x="1370620" y="1061151"/>
                    <a:pt x="1363451" y="1093330"/>
                    <a:pt x="1339792" y="1120504"/>
                  </a:cubicBezTo>
                  <a:cubicBezTo>
                    <a:pt x="1323302" y="1141957"/>
                    <a:pt x="1302511" y="1154113"/>
                    <a:pt x="1286739" y="1154113"/>
                  </a:cubicBezTo>
                  <a:cubicBezTo>
                    <a:pt x="1281003" y="1154113"/>
                    <a:pt x="1276702" y="1152683"/>
                    <a:pt x="1272400" y="1149823"/>
                  </a:cubicBezTo>
                  <a:cubicBezTo>
                    <a:pt x="1272400" y="1149823"/>
                    <a:pt x="1272400" y="1149823"/>
                    <a:pt x="1022190" y="943162"/>
                  </a:cubicBezTo>
                  <a:cubicBezTo>
                    <a:pt x="1015737" y="937441"/>
                    <a:pt x="1015020" y="927430"/>
                    <a:pt x="1020039" y="920994"/>
                  </a:cubicBezTo>
                  <a:cubicBezTo>
                    <a:pt x="1020039" y="920994"/>
                    <a:pt x="1020039" y="920994"/>
                    <a:pt x="1082412" y="844479"/>
                  </a:cubicBezTo>
                  <a:cubicBezTo>
                    <a:pt x="1085280" y="841261"/>
                    <a:pt x="1089223" y="839295"/>
                    <a:pt x="1093256" y="838848"/>
                  </a:cubicBezTo>
                  <a:close/>
                  <a:moveTo>
                    <a:pt x="126043" y="801687"/>
                  </a:moveTo>
                  <a:cubicBezTo>
                    <a:pt x="126043" y="801687"/>
                    <a:pt x="166006" y="834548"/>
                    <a:pt x="185273" y="849550"/>
                  </a:cubicBezTo>
                  <a:cubicBezTo>
                    <a:pt x="185987" y="850265"/>
                    <a:pt x="187414" y="850265"/>
                    <a:pt x="188128" y="849550"/>
                  </a:cubicBezTo>
                  <a:cubicBezTo>
                    <a:pt x="213818" y="828833"/>
                    <a:pt x="246645" y="801687"/>
                    <a:pt x="246645" y="801687"/>
                  </a:cubicBezTo>
                  <a:cubicBezTo>
                    <a:pt x="246645" y="801687"/>
                    <a:pt x="299452" y="801687"/>
                    <a:pt x="327284" y="814546"/>
                  </a:cubicBezTo>
                  <a:cubicBezTo>
                    <a:pt x="350833" y="825261"/>
                    <a:pt x="366533" y="865267"/>
                    <a:pt x="372242" y="880268"/>
                  </a:cubicBezTo>
                  <a:cubicBezTo>
                    <a:pt x="373669" y="883126"/>
                    <a:pt x="371528" y="887412"/>
                    <a:pt x="367960" y="887412"/>
                  </a:cubicBezTo>
                  <a:cubicBezTo>
                    <a:pt x="367960" y="887412"/>
                    <a:pt x="367960" y="887412"/>
                    <a:pt x="4728" y="887412"/>
                  </a:cubicBezTo>
                  <a:cubicBezTo>
                    <a:pt x="1160" y="887412"/>
                    <a:pt x="-981" y="883126"/>
                    <a:pt x="446" y="880268"/>
                  </a:cubicBezTo>
                  <a:cubicBezTo>
                    <a:pt x="6155" y="865267"/>
                    <a:pt x="22568" y="825261"/>
                    <a:pt x="45404" y="814546"/>
                  </a:cubicBezTo>
                  <a:cubicBezTo>
                    <a:pt x="73949" y="801687"/>
                    <a:pt x="126043" y="801687"/>
                    <a:pt x="126043" y="801687"/>
                  </a:cubicBezTo>
                  <a:close/>
                  <a:moveTo>
                    <a:pt x="86331" y="687387"/>
                  </a:moveTo>
                  <a:cubicBezTo>
                    <a:pt x="86331" y="687387"/>
                    <a:pt x="86331" y="687387"/>
                    <a:pt x="97046" y="692364"/>
                  </a:cubicBezTo>
                  <a:cubicBezTo>
                    <a:pt x="98475" y="696629"/>
                    <a:pt x="101333" y="700895"/>
                    <a:pt x="107048" y="704450"/>
                  </a:cubicBezTo>
                  <a:cubicBezTo>
                    <a:pt x="107762" y="704450"/>
                    <a:pt x="108476" y="705872"/>
                    <a:pt x="109191" y="706583"/>
                  </a:cubicBezTo>
                  <a:cubicBezTo>
                    <a:pt x="117763" y="727912"/>
                    <a:pt x="132765" y="763461"/>
                    <a:pt x="138480" y="768437"/>
                  </a:cubicBezTo>
                  <a:cubicBezTo>
                    <a:pt x="147767" y="776969"/>
                    <a:pt x="172770" y="791899"/>
                    <a:pt x="186343" y="791899"/>
                  </a:cubicBezTo>
                  <a:cubicBezTo>
                    <a:pt x="199202" y="791899"/>
                    <a:pt x="224205" y="776969"/>
                    <a:pt x="233492" y="768437"/>
                  </a:cubicBezTo>
                  <a:cubicBezTo>
                    <a:pt x="239207" y="763461"/>
                    <a:pt x="255638" y="727912"/>
                    <a:pt x="264210" y="706583"/>
                  </a:cubicBezTo>
                  <a:cubicBezTo>
                    <a:pt x="264925" y="705872"/>
                    <a:pt x="265639" y="704450"/>
                    <a:pt x="266353" y="704450"/>
                  </a:cubicBezTo>
                  <a:cubicBezTo>
                    <a:pt x="271354" y="700895"/>
                    <a:pt x="274211" y="696629"/>
                    <a:pt x="275640" y="692364"/>
                  </a:cubicBezTo>
                  <a:cubicBezTo>
                    <a:pt x="275640" y="692364"/>
                    <a:pt x="275640" y="692364"/>
                    <a:pt x="286356" y="687387"/>
                  </a:cubicBezTo>
                  <a:cubicBezTo>
                    <a:pt x="286356" y="687387"/>
                    <a:pt x="286356" y="687387"/>
                    <a:pt x="286356" y="688098"/>
                  </a:cubicBezTo>
                  <a:cubicBezTo>
                    <a:pt x="285641" y="692364"/>
                    <a:pt x="282784" y="705161"/>
                    <a:pt x="272068" y="710849"/>
                  </a:cubicBezTo>
                  <a:cubicBezTo>
                    <a:pt x="267782" y="722224"/>
                    <a:pt x="250637" y="762039"/>
                    <a:pt x="241350" y="773414"/>
                  </a:cubicBezTo>
                  <a:cubicBezTo>
                    <a:pt x="241350" y="773414"/>
                    <a:pt x="241350" y="773414"/>
                    <a:pt x="241350" y="793321"/>
                  </a:cubicBezTo>
                  <a:cubicBezTo>
                    <a:pt x="241350" y="793321"/>
                    <a:pt x="241350" y="793321"/>
                    <a:pt x="239921" y="795454"/>
                  </a:cubicBezTo>
                  <a:cubicBezTo>
                    <a:pt x="239921" y="795454"/>
                    <a:pt x="237064" y="799009"/>
                    <a:pt x="232063" y="803275"/>
                  </a:cubicBezTo>
                  <a:cubicBezTo>
                    <a:pt x="232063" y="803275"/>
                    <a:pt x="232063" y="803275"/>
                    <a:pt x="232063" y="780524"/>
                  </a:cubicBezTo>
                  <a:cubicBezTo>
                    <a:pt x="219919" y="789766"/>
                    <a:pt x="199202" y="801142"/>
                    <a:pt x="186343" y="801142"/>
                  </a:cubicBezTo>
                  <a:cubicBezTo>
                    <a:pt x="172770" y="801142"/>
                    <a:pt x="152768" y="789766"/>
                    <a:pt x="139909" y="780524"/>
                  </a:cubicBezTo>
                  <a:cubicBezTo>
                    <a:pt x="139909" y="780524"/>
                    <a:pt x="139909" y="780524"/>
                    <a:pt x="139909" y="803275"/>
                  </a:cubicBezTo>
                  <a:cubicBezTo>
                    <a:pt x="134908" y="799009"/>
                    <a:pt x="132765" y="795454"/>
                    <a:pt x="132051" y="795454"/>
                  </a:cubicBezTo>
                  <a:cubicBezTo>
                    <a:pt x="132051" y="795454"/>
                    <a:pt x="132051" y="795454"/>
                    <a:pt x="130622" y="793321"/>
                  </a:cubicBezTo>
                  <a:cubicBezTo>
                    <a:pt x="130622" y="793321"/>
                    <a:pt x="130622" y="793321"/>
                    <a:pt x="130622" y="773414"/>
                  </a:cubicBezTo>
                  <a:cubicBezTo>
                    <a:pt x="122050" y="762039"/>
                    <a:pt x="105619" y="722224"/>
                    <a:pt x="101333" y="710849"/>
                  </a:cubicBezTo>
                  <a:cubicBezTo>
                    <a:pt x="90617" y="705161"/>
                    <a:pt x="87760" y="694497"/>
                    <a:pt x="86331" y="688098"/>
                  </a:cubicBezTo>
                  <a:cubicBezTo>
                    <a:pt x="86331" y="688098"/>
                    <a:pt x="86331" y="688098"/>
                    <a:pt x="86331" y="687387"/>
                  </a:cubicBezTo>
                  <a:close/>
                  <a:moveTo>
                    <a:pt x="548294" y="525462"/>
                  </a:moveTo>
                  <a:cubicBezTo>
                    <a:pt x="548294" y="525462"/>
                    <a:pt x="548294" y="525462"/>
                    <a:pt x="562627" y="532613"/>
                  </a:cubicBezTo>
                  <a:cubicBezTo>
                    <a:pt x="564777" y="538333"/>
                    <a:pt x="569077" y="544054"/>
                    <a:pt x="576960" y="548345"/>
                  </a:cubicBezTo>
                  <a:cubicBezTo>
                    <a:pt x="578394" y="549060"/>
                    <a:pt x="579110" y="549775"/>
                    <a:pt x="579827" y="551205"/>
                  </a:cubicBezTo>
                  <a:cubicBezTo>
                    <a:pt x="591294" y="579809"/>
                    <a:pt x="612794" y="628435"/>
                    <a:pt x="620677" y="635586"/>
                  </a:cubicBezTo>
                  <a:cubicBezTo>
                    <a:pt x="633577" y="647027"/>
                    <a:pt x="666544" y="667765"/>
                    <a:pt x="685177" y="667765"/>
                  </a:cubicBezTo>
                  <a:cubicBezTo>
                    <a:pt x="703810" y="667765"/>
                    <a:pt x="737494" y="647027"/>
                    <a:pt x="750394" y="635586"/>
                  </a:cubicBezTo>
                  <a:cubicBezTo>
                    <a:pt x="758277" y="628435"/>
                    <a:pt x="779060" y="579809"/>
                    <a:pt x="791244" y="551205"/>
                  </a:cubicBezTo>
                  <a:cubicBezTo>
                    <a:pt x="791244" y="549775"/>
                    <a:pt x="792677" y="549060"/>
                    <a:pt x="794110" y="548345"/>
                  </a:cubicBezTo>
                  <a:cubicBezTo>
                    <a:pt x="801277" y="544054"/>
                    <a:pt x="805577" y="538333"/>
                    <a:pt x="807727" y="532613"/>
                  </a:cubicBezTo>
                  <a:cubicBezTo>
                    <a:pt x="807727" y="532613"/>
                    <a:pt x="807727" y="532613"/>
                    <a:pt x="821344" y="525462"/>
                  </a:cubicBezTo>
                  <a:cubicBezTo>
                    <a:pt x="821344" y="526177"/>
                    <a:pt x="821344" y="526177"/>
                    <a:pt x="821344" y="526177"/>
                  </a:cubicBezTo>
                  <a:cubicBezTo>
                    <a:pt x="820627" y="533328"/>
                    <a:pt x="816327" y="549060"/>
                    <a:pt x="801994" y="557641"/>
                  </a:cubicBezTo>
                  <a:cubicBezTo>
                    <a:pt x="795544" y="573373"/>
                    <a:pt x="773327" y="627005"/>
                    <a:pt x="761144" y="642737"/>
                  </a:cubicBezTo>
                  <a:cubicBezTo>
                    <a:pt x="761144" y="642737"/>
                    <a:pt x="761144" y="642737"/>
                    <a:pt x="761144" y="669910"/>
                  </a:cubicBezTo>
                  <a:cubicBezTo>
                    <a:pt x="761144" y="669910"/>
                    <a:pt x="761144" y="669910"/>
                    <a:pt x="758994" y="672770"/>
                  </a:cubicBezTo>
                  <a:cubicBezTo>
                    <a:pt x="758994" y="673486"/>
                    <a:pt x="755410" y="677776"/>
                    <a:pt x="748244" y="684212"/>
                  </a:cubicBezTo>
                  <a:cubicBezTo>
                    <a:pt x="748244" y="684212"/>
                    <a:pt x="748244" y="684212"/>
                    <a:pt x="748244" y="653463"/>
                  </a:cubicBezTo>
                  <a:cubicBezTo>
                    <a:pt x="731044" y="664904"/>
                    <a:pt x="704527" y="680636"/>
                    <a:pt x="685177" y="680636"/>
                  </a:cubicBezTo>
                  <a:cubicBezTo>
                    <a:pt x="666544" y="680636"/>
                    <a:pt x="639310" y="664904"/>
                    <a:pt x="622827" y="653463"/>
                  </a:cubicBezTo>
                  <a:cubicBezTo>
                    <a:pt x="622827" y="653463"/>
                    <a:pt x="622827" y="653463"/>
                    <a:pt x="622827" y="684212"/>
                  </a:cubicBezTo>
                  <a:cubicBezTo>
                    <a:pt x="615660" y="678491"/>
                    <a:pt x="612077" y="673486"/>
                    <a:pt x="612077" y="672770"/>
                  </a:cubicBezTo>
                  <a:cubicBezTo>
                    <a:pt x="612077" y="672770"/>
                    <a:pt x="612077" y="672770"/>
                    <a:pt x="609927" y="669910"/>
                  </a:cubicBezTo>
                  <a:cubicBezTo>
                    <a:pt x="609927" y="669910"/>
                    <a:pt x="609927" y="669910"/>
                    <a:pt x="609927" y="642737"/>
                  </a:cubicBezTo>
                  <a:cubicBezTo>
                    <a:pt x="597744" y="627005"/>
                    <a:pt x="575527" y="573373"/>
                    <a:pt x="568360" y="557641"/>
                  </a:cubicBezTo>
                  <a:cubicBezTo>
                    <a:pt x="554027" y="549775"/>
                    <a:pt x="549727" y="535473"/>
                    <a:pt x="548294" y="526892"/>
                  </a:cubicBezTo>
                  <a:cubicBezTo>
                    <a:pt x="548294" y="526892"/>
                    <a:pt x="548294" y="526177"/>
                    <a:pt x="548294" y="525462"/>
                  </a:cubicBezTo>
                  <a:close/>
                  <a:moveTo>
                    <a:pt x="682874" y="292100"/>
                  </a:moveTo>
                  <a:cubicBezTo>
                    <a:pt x="520062" y="292100"/>
                    <a:pt x="387956" y="424011"/>
                    <a:pt x="387956" y="586582"/>
                  </a:cubicBezTo>
                  <a:cubicBezTo>
                    <a:pt x="387956" y="650041"/>
                    <a:pt x="407951" y="708510"/>
                    <a:pt x="441513" y="756283"/>
                  </a:cubicBezTo>
                  <a:cubicBezTo>
                    <a:pt x="441513" y="756283"/>
                    <a:pt x="441513" y="756283"/>
                    <a:pt x="442227" y="755570"/>
                  </a:cubicBezTo>
                  <a:cubicBezTo>
                    <a:pt x="452224" y="734179"/>
                    <a:pt x="467934" y="708510"/>
                    <a:pt x="490785" y="697814"/>
                  </a:cubicBezTo>
                  <a:cubicBezTo>
                    <a:pt x="525775" y="682841"/>
                    <a:pt x="586472" y="680702"/>
                    <a:pt x="599326" y="680702"/>
                  </a:cubicBezTo>
                  <a:cubicBezTo>
                    <a:pt x="599326" y="680702"/>
                    <a:pt x="600040" y="681415"/>
                    <a:pt x="600754" y="682841"/>
                  </a:cubicBezTo>
                  <a:cubicBezTo>
                    <a:pt x="630032" y="776248"/>
                    <a:pt x="648598" y="840420"/>
                    <a:pt x="655739" y="866803"/>
                  </a:cubicBezTo>
                  <a:cubicBezTo>
                    <a:pt x="655739" y="866803"/>
                    <a:pt x="655739" y="866803"/>
                    <a:pt x="657881" y="874646"/>
                  </a:cubicBezTo>
                  <a:cubicBezTo>
                    <a:pt x="658595" y="877498"/>
                    <a:pt x="661452" y="879637"/>
                    <a:pt x="664308" y="879637"/>
                  </a:cubicBezTo>
                  <a:cubicBezTo>
                    <a:pt x="664308" y="879637"/>
                    <a:pt x="664308" y="879637"/>
                    <a:pt x="672163" y="880350"/>
                  </a:cubicBezTo>
                  <a:cubicBezTo>
                    <a:pt x="679304" y="881063"/>
                    <a:pt x="687159" y="881063"/>
                    <a:pt x="694300" y="880350"/>
                  </a:cubicBezTo>
                  <a:cubicBezTo>
                    <a:pt x="694300" y="880350"/>
                    <a:pt x="694300" y="880350"/>
                    <a:pt x="702155" y="879637"/>
                  </a:cubicBezTo>
                  <a:cubicBezTo>
                    <a:pt x="705725" y="879637"/>
                    <a:pt x="707867" y="877498"/>
                    <a:pt x="708581" y="874646"/>
                  </a:cubicBezTo>
                  <a:cubicBezTo>
                    <a:pt x="708581" y="874646"/>
                    <a:pt x="708581" y="874646"/>
                    <a:pt x="712866" y="861098"/>
                  </a:cubicBezTo>
                  <a:cubicBezTo>
                    <a:pt x="721435" y="834716"/>
                    <a:pt x="737145" y="782665"/>
                    <a:pt x="766422" y="682841"/>
                  </a:cubicBezTo>
                  <a:cubicBezTo>
                    <a:pt x="766422" y="681415"/>
                    <a:pt x="767851" y="680702"/>
                    <a:pt x="769279" y="680702"/>
                  </a:cubicBezTo>
                  <a:cubicBezTo>
                    <a:pt x="782132" y="680702"/>
                    <a:pt x="842830" y="682841"/>
                    <a:pt x="877106" y="697814"/>
                  </a:cubicBezTo>
                  <a:cubicBezTo>
                    <a:pt x="888531" y="703519"/>
                    <a:pt x="897814" y="712788"/>
                    <a:pt x="906383" y="722770"/>
                  </a:cubicBezTo>
                  <a:cubicBezTo>
                    <a:pt x="906383" y="722770"/>
                    <a:pt x="906383" y="722770"/>
                    <a:pt x="925664" y="754144"/>
                  </a:cubicBezTo>
                  <a:lnTo>
                    <a:pt x="927806" y="752005"/>
                  </a:lnTo>
                  <a:cubicBezTo>
                    <a:pt x="959940" y="704945"/>
                    <a:pt x="978506" y="647902"/>
                    <a:pt x="978506" y="586582"/>
                  </a:cubicBezTo>
                  <a:cubicBezTo>
                    <a:pt x="978506" y="424011"/>
                    <a:pt x="846400" y="292100"/>
                    <a:pt x="682874" y="292100"/>
                  </a:cubicBezTo>
                  <a:close/>
                  <a:moveTo>
                    <a:pt x="713786" y="261703"/>
                  </a:moveTo>
                  <a:cubicBezTo>
                    <a:pt x="776637" y="267421"/>
                    <a:pt x="838060" y="291721"/>
                    <a:pt x="890913" y="334603"/>
                  </a:cubicBezTo>
                  <a:cubicBezTo>
                    <a:pt x="1013045" y="435376"/>
                    <a:pt x="1043756" y="608335"/>
                    <a:pt x="969477" y="742699"/>
                  </a:cubicBezTo>
                  <a:cubicBezTo>
                    <a:pt x="1055184" y="813455"/>
                    <a:pt x="1055184" y="813455"/>
                    <a:pt x="1055184" y="813455"/>
                  </a:cubicBezTo>
                  <a:cubicBezTo>
                    <a:pt x="1058755" y="817029"/>
                    <a:pt x="1059469" y="822746"/>
                    <a:pt x="1056612" y="826320"/>
                  </a:cubicBezTo>
                  <a:cubicBezTo>
                    <a:pt x="995189" y="901364"/>
                    <a:pt x="995189" y="901364"/>
                    <a:pt x="995189" y="901364"/>
                  </a:cubicBezTo>
                  <a:cubicBezTo>
                    <a:pt x="992332" y="904937"/>
                    <a:pt x="986619" y="905652"/>
                    <a:pt x="982333" y="902793"/>
                  </a:cubicBezTo>
                  <a:cubicBezTo>
                    <a:pt x="898055" y="832752"/>
                    <a:pt x="898055" y="832752"/>
                    <a:pt x="898055" y="832752"/>
                  </a:cubicBezTo>
                  <a:cubicBezTo>
                    <a:pt x="780922" y="934955"/>
                    <a:pt x="602367" y="941387"/>
                    <a:pt x="478092" y="839184"/>
                  </a:cubicBezTo>
                  <a:cubicBezTo>
                    <a:pt x="338819" y="724832"/>
                    <a:pt x="318106" y="520426"/>
                    <a:pt x="431668" y="380344"/>
                  </a:cubicBezTo>
                  <a:cubicBezTo>
                    <a:pt x="503090" y="293150"/>
                    <a:pt x="609509" y="252412"/>
                    <a:pt x="713786" y="261703"/>
                  </a:cubicBezTo>
                  <a:close/>
                  <a:moveTo>
                    <a:pt x="83156" y="203200"/>
                  </a:moveTo>
                  <a:cubicBezTo>
                    <a:pt x="83156" y="203200"/>
                    <a:pt x="83156" y="203200"/>
                    <a:pt x="93880" y="207498"/>
                  </a:cubicBezTo>
                  <a:cubicBezTo>
                    <a:pt x="96025" y="211796"/>
                    <a:pt x="98884" y="216093"/>
                    <a:pt x="103174" y="218959"/>
                  </a:cubicBezTo>
                  <a:cubicBezTo>
                    <a:pt x="104604" y="219675"/>
                    <a:pt x="105319" y="220391"/>
                    <a:pt x="105319" y="221108"/>
                  </a:cubicBezTo>
                  <a:cubicBezTo>
                    <a:pt x="114613" y="242597"/>
                    <a:pt x="130342" y="279845"/>
                    <a:pt x="136776" y="284859"/>
                  </a:cubicBezTo>
                  <a:cubicBezTo>
                    <a:pt x="146070" y="292739"/>
                    <a:pt x="170378" y="308498"/>
                    <a:pt x="183962" y="308498"/>
                  </a:cubicBezTo>
                  <a:cubicBezTo>
                    <a:pt x="198261" y="308498"/>
                    <a:pt x="222569" y="292739"/>
                    <a:pt x="231863" y="284859"/>
                  </a:cubicBezTo>
                  <a:cubicBezTo>
                    <a:pt x="238298" y="279845"/>
                    <a:pt x="254026" y="242597"/>
                    <a:pt x="262606" y="221108"/>
                  </a:cubicBezTo>
                  <a:cubicBezTo>
                    <a:pt x="263321" y="220391"/>
                    <a:pt x="264036" y="219675"/>
                    <a:pt x="264750" y="218959"/>
                  </a:cubicBezTo>
                  <a:cubicBezTo>
                    <a:pt x="269755" y="216093"/>
                    <a:pt x="271900" y="211796"/>
                    <a:pt x="273330" y="207498"/>
                  </a:cubicBezTo>
                  <a:cubicBezTo>
                    <a:pt x="273330" y="207498"/>
                    <a:pt x="273330" y="207498"/>
                    <a:pt x="284769" y="203200"/>
                  </a:cubicBezTo>
                  <a:cubicBezTo>
                    <a:pt x="284769" y="203200"/>
                    <a:pt x="284769" y="203200"/>
                    <a:pt x="284054" y="203916"/>
                  </a:cubicBezTo>
                  <a:cubicBezTo>
                    <a:pt x="283339" y="208214"/>
                    <a:pt x="280479" y="219675"/>
                    <a:pt x="270470" y="226838"/>
                  </a:cubicBezTo>
                  <a:cubicBezTo>
                    <a:pt x="265465" y="238299"/>
                    <a:pt x="249737" y="278413"/>
                    <a:pt x="240442" y="289873"/>
                  </a:cubicBezTo>
                  <a:cubicBezTo>
                    <a:pt x="240442" y="289873"/>
                    <a:pt x="240442" y="289873"/>
                    <a:pt x="240442" y="309930"/>
                  </a:cubicBezTo>
                  <a:cubicBezTo>
                    <a:pt x="240442" y="309930"/>
                    <a:pt x="240442" y="309930"/>
                    <a:pt x="238298" y="312079"/>
                  </a:cubicBezTo>
                  <a:cubicBezTo>
                    <a:pt x="238298" y="312795"/>
                    <a:pt x="235438" y="316377"/>
                    <a:pt x="230433" y="320675"/>
                  </a:cubicBezTo>
                  <a:cubicBezTo>
                    <a:pt x="230433" y="320675"/>
                    <a:pt x="230433" y="320675"/>
                    <a:pt x="230433" y="297037"/>
                  </a:cubicBezTo>
                  <a:cubicBezTo>
                    <a:pt x="218279" y="306349"/>
                    <a:pt x="198261" y="317810"/>
                    <a:pt x="183962" y="317810"/>
                  </a:cubicBezTo>
                  <a:cubicBezTo>
                    <a:pt x="170378" y="317810"/>
                    <a:pt x="150360" y="306349"/>
                    <a:pt x="137491" y="297037"/>
                  </a:cubicBezTo>
                  <a:cubicBezTo>
                    <a:pt x="137491" y="297037"/>
                    <a:pt x="137491" y="297037"/>
                    <a:pt x="137491" y="320675"/>
                  </a:cubicBezTo>
                  <a:cubicBezTo>
                    <a:pt x="132487" y="316377"/>
                    <a:pt x="130342" y="312795"/>
                    <a:pt x="129627" y="312079"/>
                  </a:cubicBezTo>
                  <a:cubicBezTo>
                    <a:pt x="129627" y="312079"/>
                    <a:pt x="129627" y="312079"/>
                    <a:pt x="128197" y="309930"/>
                  </a:cubicBezTo>
                  <a:cubicBezTo>
                    <a:pt x="128197" y="309930"/>
                    <a:pt x="128197" y="309930"/>
                    <a:pt x="128197" y="289873"/>
                  </a:cubicBezTo>
                  <a:cubicBezTo>
                    <a:pt x="118903" y="278413"/>
                    <a:pt x="102459" y="238299"/>
                    <a:pt x="98169" y="226838"/>
                  </a:cubicBezTo>
                  <a:cubicBezTo>
                    <a:pt x="87445" y="220391"/>
                    <a:pt x="84586" y="209647"/>
                    <a:pt x="83156" y="203916"/>
                  </a:cubicBezTo>
                  <a:cubicBezTo>
                    <a:pt x="83156" y="203916"/>
                    <a:pt x="83156" y="203916"/>
                    <a:pt x="83156" y="203200"/>
                  </a:cubicBezTo>
                  <a:close/>
                  <a:moveTo>
                    <a:pt x="1271480" y="198437"/>
                  </a:moveTo>
                  <a:cubicBezTo>
                    <a:pt x="1272194" y="199153"/>
                    <a:pt x="1272194" y="199870"/>
                    <a:pt x="1271480" y="199870"/>
                  </a:cubicBezTo>
                  <a:cubicBezTo>
                    <a:pt x="1270765" y="205601"/>
                    <a:pt x="1267908" y="217780"/>
                    <a:pt x="1257192" y="225660"/>
                  </a:cubicBezTo>
                  <a:cubicBezTo>
                    <a:pt x="1252192" y="237839"/>
                    <a:pt x="1238619" y="277242"/>
                    <a:pt x="1228617" y="289421"/>
                  </a:cubicBezTo>
                  <a:cubicBezTo>
                    <a:pt x="1228617" y="289421"/>
                    <a:pt x="1228617" y="289421"/>
                    <a:pt x="1228617" y="328824"/>
                  </a:cubicBezTo>
                  <a:cubicBezTo>
                    <a:pt x="1225760" y="332406"/>
                    <a:pt x="1222188" y="335271"/>
                    <a:pt x="1217902" y="338137"/>
                  </a:cubicBezTo>
                  <a:cubicBezTo>
                    <a:pt x="1217902" y="338137"/>
                    <a:pt x="1217902" y="338137"/>
                    <a:pt x="1217902" y="298734"/>
                  </a:cubicBezTo>
                  <a:cubicBezTo>
                    <a:pt x="1205043" y="308764"/>
                    <a:pt x="1185755" y="320943"/>
                    <a:pt x="1171467" y="320943"/>
                  </a:cubicBezTo>
                  <a:cubicBezTo>
                    <a:pt x="1157894" y="320943"/>
                    <a:pt x="1138606" y="308764"/>
                    <a:pt x="1125747" y="299451"/>
                  </a:cubicBezTo>
                  <a:cubicBezTo>
                    <a:pt x="1125747" y="299451"/>
                    <a:pt x="1125747" y="299451"/>
                    <a:pt x="1125747" y="338137"/>
                  </a:cubicBezTo>
                  <a:cubicBezTo>
                    <a:pt x="1121461" y="335271"/>
                    <a:pt x="1118604" y="332406"/>
                    <a:pt x="1115032" y="329540"/>
                  </a:cubicBezTo>
                  <a:cubicBezTo>
                    <a:pt x="1115032" y="329540"/>
                    <a:pt x="1115032" y="329540"/>
                    <a:pt x="1115032" y="289421"/>
                  </a:cubicBezTo>
                  <a:cubicBezTo>
                    <a:pt x="1105745" y="277242"/>
                    <a:pt x="1091457" y="237839"/>
                    <a:pt x="1087171" y="225660"/>
                  </a:cubicBezTo>
                  <a:cubicBezTo>
                    <a:pt x="1076455" y="218496"/>
                    <a:pt x="1073598" y="207034"/>
                    <a:pt x="1072169" y="200586"/>
                  </a:cubicBezTo>
                  <a:cubicBezTo>
                    <a:pt x="1072169" y="200586"/>
                    <a:pt x="1072169" y="200586"/>
                    <a:pt x="1072169" y="199870"/>
                  </a:cubicBezTo>
                  <a:cubicBezTo>
                    <a:pt x="1072169" y="199870"/>
                    <a:pt x="1072169" y="199870"/>
                    <a:pt x="1084314" y="205601"/>
                  </a:cubicBezTo>
                  <a:cubicBezTo>
                    <a:pt x="1085742" y="209899"/>
                    <a:pt x="1088600" y="214198"/>
                    <a:pt x="1094315" y="217064"/>
                  </a:cubicBezTo>
                  <a:cubicBezTo>
                    <a:pt x="1095029" y="217780"/>
                    <a:pt x="1095029" y="218496"/>
                    <a:pt x="1095744" y="219929"/>
                  </a:cubicBezTo>
                  <a:cubicBezTo>
                    <a:pt x="1103602" y="242138"/>
                    <a:pt x="1118604" y="278675"/>
                    <a:pt x="1124319" y="284406"/>
                  </a:cubicBezTo>
                  <a:cubicBezTo>
                    <a:pt x="1133605" y="293003"/>
                    <a:pt x="1158609" y="310197"/>
                    <a:pt x="1171467" y="310197"/>
                  </a:cubicBezTo>
                  <a:cubicBezTo>
                    <a:pt x="1185755" y="310197"/>
                    <a:pt x="1210044" y="293003"/>
                    <a:pt x="1219330" y="284406"/>
                  </a:cubicBezTo>
                  <a:cubicBezTo>
                    <a:pt x="1225760" y="278675"/>
                    <a:pt x="1240047" y="242138"/>
                    <a:pt x="1247905" y="219929"/>
                  </a:cubicBezTo>
                  <a:cubicBezTo>
                    <a:pt x="1248620" y="218496"/>
                    <a:pt x="1249334" y="217780"/>
                    <a:pt x="1250049" y="217064"/>
                  </a:cubicBezTo>
                  <a:cubicBezTo>
                    <a:pt x="1255764" y="213481"/>
                    <a:pt x="1258621" y="209183"/>
                    <a:pt x="1260050" y="204168"/>
                  </a:cubicBezTo>
                  <a:cubicBezTo>
                    <a:pt x="1260050" y="204168"/>
                    <a:pt x="1260050" y="204168"/>
                    <a:pt x="1271480" y="198437"/>
                  </a:cubicBezTo>
                  <a:close/>
                  <a:moveTo>
                    <a:pt x="603826" y="114300"/>
                  </a:moveTo>
                  <a:cubicBezTo>
                    <a:pt x="603826" y="114300"/>
                    <a:pt x="643771" y="147875"/>
                    <a:pt x="662317" y="162877"/>
                  </a:cubicBezTo>
                  <a:cubicBezTo>
                    <a:pt x="663031" y="163592"/>
                    <a:pt x="664457" y="163592"/>
                    <a:pt x="665171" y="162877"/>
                  </a:cubicBezTo>
                  <a:cubicBezTo>
                    <a:pt x="690850" y="142875"/>
                    <a:pt x="724376" y="114300"/>
                    <a:pt x="724376" y="114300"/>
                  </a:cubicBezTo>
                  <a:cubicBezTo>
                    <a:pt x="724376" y="114300"/>
                    <a:pt x="775734" y="115014"/>
                    <a:pt x="804267" y="128587"/>
                  </a:cubicBezTo>
                  <a:cubicBezTo>
                    <a:pt x="827093" y="139303"/>
                    <a:pt x="843499" y="179308"/>
                    <a:pt x="849205" y="194310"/>
                  </a:cubicBezTo>
                  <a:cubicBezTo>
                    <a:pt x="849919" y="197167"/>
                    <a:pt x="847779" y="200025"/>
                    <a:pt x="844926" y="200025"/>
                  </a:cubicBezTo>
                  <a:cubicBezTo>
                    <a:pt x="844926" y="200025"/>
                    <a:pt x="844926" y="200025"/>
                    <a:pt x="482562" y="200025"/>
                  </a:cubicBezTo>
                  <a:cubicBezTo>
                    <a:pt x="478996" y="200025"/>
                    <a:pt x="476856" y="197167"/>
                    <a:pt x="478282" y="194310"/>
                  </a:cubicBezTo>
                  <a:cubicBezTo>
                    <a:pt x="483989" y="179308"/>
                    <a:pt x="500395" y="139303"/>
                    <a:pt x="523221" y="128587"/>
                  </a:cubicBezTo>
                  <a:cubicBezTo>
                    <a:pt x="551040" y="115014"/>
                    <a:pt x="603826" y="114300"/>
                    <a:pt x="603826" y="114300"/>
                  </a:cubicBezTo>
                  <a:close/>
                  <a:moveTo>
                    <a:pt x="1170237" y="50800"/>
                  </a:moveTo>
                  <a:cubicBezTo>
                    <a:pt x="1228793" y="50800"/>
                    <a:pt x="1273781" y="93710"/>
                    <a:pt x="1273781" y="148062"/>
                  </a:cubicBezTo>
                  <a:cubicBezTo>
                    <a:pt x="1273781" y="159505"/>
                    <a:pt x="1273781" y="170232"/>
                    <a:pt x="1270211" y="180244"/>
                  </a:cubicBezTo>
                  <a:cubicBezTo>
                    <a:pt x="1269497" y="180244"/>
                    <a:pt x="1268068" y="185251"/>
                    <a:pt x="1259499" y="194548"/>
                  </a:cubicBezTo>
                  <a:cubicBezTo>
                    <a:pt x="1259499" y="195263"/>
                    <a:pt x="1258785" y="195263"/>
                    <a:pt x="1258071" y="195263"/>
                  </a:cubicBezTo>
                  <a:cubicBezTo>
                    <a:pt x="1258071" y="195263"/>
                    <a:pt x="1258071" y="195263"/>
                    <a:pt x="1253072" y="195263"/>
                  </a:cubicBezTo>
                  <a:cubicBezTo>
                    <a:pt x="1252358" y="195263"/>
                    <a:pt x="1251644" y="194548"/>
                    <a:pt x="1251644" y="193117"/>
                  </a:cubicBezTo>
                  <a:cubicBezTo>
                    <a:pt x="1251644" y="188826"/>
                    <a:pt x="1250930" y="174523"/>
                    <a:pt x="1250216" y="128038"/>
                  </a:cubicBezTo>
                  <a:cubicBezTo>
                    <a:pt x="1250216" y="126607"/>
                    <a:pt x="1248074" y="125177"/>
                    <a:pt x="1246645" y="126607"/>
                  </a:cubicBezTo>
                  <a:cubicBezTo>
                    <a:pt x="1232363" y="137335"/>
                    <a:pt x="1199515" y="134474"/>
                    <a:pt x="1195944" y="133759"/>
                  </a:cubicBezTo>
                  <a:cubicBezTo>
                    <a:pt x="1195944" y="133759"/>
                    <a:pt x="1195944" y="133759"/>
                    <a:pt x="1153812" y="138765"/>
                  </a:cubicBezTo>
                  <a:cubicBezTo>
                    <a:pt x="1151670" y="138765"/>
                    <a:pt x="1150242" y="137335"/>
                    <a:pt x="1151670" y="135904"/>
                  </a:cubicBezTo>
                  <a:cubicBezTo>
                    <a:pt x="1153812" y="133044"/>
                    <a:pt x="1155241" y="129468"/>
                    <a:pt x="1156669" y="126607"/>
                  </a:cubicBezTo>
                  <a:cubicBezTo>
                    <a:pt x="1157383" y="124462"/>
                    <a:pt x="1155241" y="123031"/>
                    <a:pt x="1153812" y="123747"/>
                  </a:cubicBezTo>
                  <a:cubicBezTo>
                    <a:pt x="1141673" y="133044"/>
                    <a:pt x="1121678" y="143056"/>
                    <a:pt x="1114537" y="146632"/>
                  </a:cubicBezTo>
                  <a:cubicBezTo>
                    <a:pt x="1113109" y="148062"/>
                    <a:pt x="1110966" y="146632"/>
                    <a:pt x="1111680" y="145201"/>
                  </a:cubicBezTo>
                  <a:cubicBezTo>
                    <a:pt x="1111680" y="145201"/>
                    <a:pt x="1111680" y="145201"/>
                    <a:pt x="1113823" y="130898"/>
                  </a:cubicBezTo>
                  <a:cubicBezTo>
                    <a:pt x="1113823" y="129468"/>
                    <a:pt x="1112395" y="128753"/>
                    <a:pt x="1110966" y="129468"/>
                  </a:cubicBezTo>
                  <a:cubicBezTo>
                    <a:pt x="1086687" y="139480"/>
                    <a:pt x="1088115" y="181675"/>
                    <a:pt x="1088115" y="191687"/>
                  </a:cubicBezTo>
                  <a:cubicBezTo>
                    <a:pt x="1088115" y="193117"/>
                    <a:pt x="1087401" y="193833"/>
                    <a:pt x="1085973" y="193833"/>
                  </a:cubicBezTo>
                  <a:cubicBezTo>
                    <a:pt x="1085973" y="193833"/>
                    <a:pt x="1085973" y="193833"/>
                    <a:pt x="1083116" y="193117"/>
                  </a:cubicBezTo>
                  <a:cubicBezTo>
                    <a:pt x="1082402" y="193117"/>
                    <a:pt x="1080974" y="193117"/>
                    <a:pt x="1080974" y="192402"/>
                  </a:cubicBezTo>
                  <a:cubicBezTo>
                    <a:pt x="1080260" y="190972"/>
                    <a:pt x="1078118" y="187396"/>
                    <a:pt x="1071691" y="180960"/>
                  </a:cubicBezTo>
                  <a:cubicBezTo>
                    <a:pt x="1067406" y="170232"/>
                    <a:pt x="1067406" y="159505"/>
                    <a:pt x="1067406" y="148062"/>
                  </a:cubicBezTo>
                  <a:cubicBezTo>
                    <a:pt x="1067406" y="93710"/>
                    <a:pt x="1112395" y="50800"/>
                    <a:pt x="1170237" y="50800"/>
                  </a:cubicBezTo>
                  <a:close/>
                  <a:moveTo>
                    <a:pt x="182375" y="50800"/>
                  </a:moveTo>
                  <a:cubicBezTo>
                    <a:pt x="238052" y="50800"/>
                    <a:pt x="281594" y="97090"/>
                    <a:pt x="281594" y="153349"/>
                  </a:cubicBezTo>
                  <a:cubicBezTo>
                    <a:pt x="281594" y="165456"/>
                    <a:pt x="281594" y="177562"/>
                    <a:pt x="277311" y="188245"/>
                  </a:cubicBezTo>
                  <a:cubicBezTo>
                    <a:pt x="277311" y="188957"/>
                    <a:pt x="277311" y="188957"/>
                    <a:pt x="277311" y="188957"/>
                  </a:cubicBezTo>
                  <a:cubicBezTo>
                    <a:pt x="267318" y="196791"/>
                    <a:pt x="267318" y="201776"/>
                    <a:pt x="267318" y="201776"/>
                  </a:cubicBezTo>
                  <a:cubicBezTo>
                    <a:pt x="260893" y="201776"/>
                    <a:pt x="260893" y="201776"/>
                    <a:pt x="260893" y="201776"/>
                  </a:cubicBezTo>
                  <a:cubicBezTo>
                    <a:pt x="260893" y="201776"/>
                    <a:pt x="265890" y="141955"/>
                    <a:pt x="236624" y="132697"/>
                  </a:cubicBezTo>
                  <a:cubicBezTo>
                    <a:pt x="236624" y="132697"/>
                    <a:pt x="118132" y="185396"/>
                    <a:pt x="106711" y="127712"/>
                  </a:cubicBezTo>
                  <a:cubicBezTo>
                    <a:pt x="105284" y="198927"/>
                    <a:pt x="105284" y="203200"/>
                    <a:pt x="105284" y="203200"/>
                  </a:cubicBezTo>
                  <a:cubicBezTo>
                    <a:pt x="98146" y="203200"/>
                    <a:pt x="98146" y="203200"/>
                    <a:pt x="98146" y="203200"/>
                  </a:cubicBezTo>
                  <a:cubicBezTo>
                    <a:pt x="89580" y="191805"/>
                    <a:pt x="87439" y="187533"/>
                    <a:pt x="87439" y="187533"/>
                  </a:cubicBezTo>
                  <a:cubicBezTo>
                    <a:pt x="83156" y="176850"/>
                    <a:pt x="83870" y="164744"/>
                    <a:pt x="83870" y="153349"/>
                  </a:cubicBezTo>
                  <a:cubicBezTo>
                    <a:pt x="83870" y="97090"/>
                    <a:pt x="126698" y="50800"/>
                    <a:pt x="182375" y="50800"/>
                  </a:cubicBezTo>
                  <a:close/>
                  <a:moveTo>
                    <a:pt x="764194" y="0"/>
                  </a:moveTo>
                  <a:cubicBezTo>
                    <a:pt x="764194" y="715"/>
                    <a:pt x="764194" y="715"/>
                    <a:pt x="764194" y="715"/>
                  </a:cubicBezTo>
                  <a:cubicBezTo>
                    <a:pt x="763475" y="5723"/>
                    <a:pt x="760599" y="17168"/>
                    <a:pt x="749814" y="23607"/>
                  </a:cubicBezTo>
                  <a:cubicBezTo>
                    <a:pt x="744781" y="35052"/>
                    <a:pt x="728245" y="74397"/>
                    <a:pt x="719617" y="86558"/>
                  </a:cubicBezTo>
                  <a:cubicBezTo>
                    <a:pt x="719617" y="86558"/>
                    <a:pt x="719617" y="86558"/>
                    <a:pt x="719617" y="106588"/>
                  </a:cubicBezTo>
                  <a:cubicBezTo>
                    <a:pt x="719617" y="106588"/>
                    <a:pt x="719617" y="106588"/>
                    <a:pt x="718179" y="108734"/>
                  </a:cubicBezTo>
                  <a:cubicBezTo>
                    <a:pt x="718179" y="108734"/>
                    <a:pt x="715303" y="112311"/>
                    <a:pt x="710270" y="115888"/>
                  </a:cubicBezTo>
                  <a:cubicBezTo>
                    <a:pt x="710270" y="115888"/>
                    <a:pt x="710270" y="115888"/>
                    <a:pt x="710270" y="93712"/>
                  </a:cubicBezTo>
                  <a:cubicBezTo>
                    <a:pt x="698048" y="103011"/>
                    <a:pt x="677916" y="113742"/>
                    <a:pt x="664256" y="113742"/>
                  </a:cubicBezTo>
                  <a:cubicBezTo>
                    <a:pt x="650595" y="113742"/>
                    <a:pt x="631183" y="103011"/>
                    <a:pt x="618960" y="93712"/>
                  </a:cubicBezTo>
                  <a:cubicBezTo>
                    <a:pt x="618960" y="93712"/>
                    <a:pt x="618960" y="93712"/>
                    <a:pt x="618960" y="115888"/>
                  </a:cubicBezTo>
                  <a:cubicBezTo>
                    <a:pt x="613927" y="112311"/>
                    <a:pt x="611770" y="108734"/>
                    <a:pt x="611051" y="108734"/>
                  </a:cubicBezTo>
                  <a:cubicBezTo>
                    <a:pt x="611051" y="108734"/>
                    <a:pt x="611051" y="108734"/>
                    <a:pt x="609613" y="106588"/>
                  </a:cubicBezTo>
                  <a:cubicBezTo>
                    <a:pt x="609613" y="106588"/>
                    <a:pt x="609613" y="106588"/>
                    <a:pt x="609613" y="86558"/>
                  </a:cubicBezTo>
                  <a:cubicBezTo>
                    <a:pt x="600986" y="74397"/>
                    <a:pt x="584449" y="35052"/>
                    <a:pt x="580135" y="23607"/>
                  </a:cubicBezTo>
                  <a:cubicBezTo>
                    <a:pt x="569351" y="17168"/>
                    <a:pt x="567194" y="7153"/>
                    <a:pt x="565756" y="1431"/>
                  </a:cubicBezTo>
                  <a:cubicBezTo>
                    <a:pt x="565756" y="715"/>
                    <a:pt x="565756" y="715"/>
                    <a:pt x="565756" y="715"/>
                  </a:cubicBezTo>
                  <a:cubicBezTo>
                    <a:pt x="565756" y="715"/>
                    <a:pt x="565756" y="715"/>
                    <a:pt x="575821" y="5723"/>
                  </a:cubicBezTo>
                  <a:cubicBezTo>
                    <a:pt x="577259" y="9300"/>
                    <a:pt x="580135" y="13592"/>
                    <a:pt x="585887" y="15738"/>
                  </a:cubicBezTo>
                  <a:cubicBezTo>
                    <a:pt x="586606" y="16453"/>
                    <a:pt x="587325" y="17168"/>
                    <a:pt x="588044" y="18599"/>
                  </a:cubicBezTo>
                  <a:cubicBezTo>
                    <a:pt x="596672" y="39345"/>
                    <a:pt x="611770" y="75828"/>
                    <a:pt x="617522" y="81551"/>
                  </a:cubicBezTo>
                  <a:cubicBezTo>
                    <a:pt x="627588" y="89420"/>
                    <a:pt x="650595" y="104442"/>
                    <a:pt x="664256" y="104442"/>
                  </a:cubicBezTo>
                  <a:cubicBezTo>
                    <a:pt x="677916" y="104442"/>
                    <a:pt x="702362" y="89420"/>
                    <a:pt x="711708" y="81551"/>
                  </a:cubicBezTo>
                  <a:cubicBezTo>
                    <a:pt x="717460" y="75828"/>
                    <a:pt x="732559" y="39345"/>
                    <a:pt x="741186" y="18599"/>
                  </a:cubicBezTo>
                  <a:cubicBezTo>
                    <a:pt x="741905" y="17168"/>
                    <a:pt x="742624" y="16453"/>
                    <a:pt x="743343" y="15738"/>
                  </a:cubicBezTo>
                  <a:cubicBezTo>
                    <a:pt x="749095" y="13592"/>
                    <a:pt x="751971" y="9300"/>
                    <a:pt x="753409" y="5723"/>
                  </a:cubicBezTo>
                  <a:cubicBezTo>
                    <a:pt x="753409" y="5723"/>
                    <a:pt x="753409" y="5723"/>
                    <a:pt x="764194" y="0"/>
                  </a:cubicBezTo>
                  <a:close/>
                </a:path>
              </a:pathLst>
            </a:custGeom>
            <a:solidFill>
              <a:srgbClr val="287DB2"/>
            </a:solidFill>
            <a:ln>
              <a:solidFill>
                <a:schemeClr val="bg1"/>
              </a:solidFill>
            </a:ln>
          </p:spPr>
          <p:txBody>
            <a:bodyPr vert="horz" wrap="square" lIns="91440" tIns="45720" rIns="91440" bIns="45720" numCol="1" anchor="t" anchorCtr="0" compatLnSpc="1">
              <a:prstTxWarp prst="textNoShape">
                <a:avLst/>
              </a:prstTxWarp>
              <a:noAutofit/>
            </a:bodyPr>
            <a:lstStyle/>
            <a:p>
              <a:endParaRPr lang="en-US"/>
            </a:p>
          </p:txBody>
        </p:sp>
        <p:cxnSp>
          <p:nvCxnSpPr>
            <p:cNvPr id="19" name="Straight Connector 18">
              <a:extLst>
                <a:ext uri="{FF2B5EF4-FFF2-40B4-BE49-F238E27FC236}">
                  <a16:creationId xmlns:a16="http://schemas.microsoft.com/office/drawing/2014/main" id="{C646F0D2-11D1-40D8-8D6A-D5AD0FD20CDD}"/>
                </a:ext>
              </a:extLst>
            </p:cNvPr>
            <p:cNvCxnSpPr>
              <a:cxnSpLocks/>
            </p:cNvCxnSpPr>
            <p:nvPr/>
          </p:nvCxnSpPr>
          <p:spPr>
            <a:xfrm>
              <a:off x="2324706" y="3225952"/>
              <a:ext cx="0" cy="984275"/>
            </a:xfrm>
            <a:prstGeom prst="line">
              <a:avLst/>
            </a:prstGeom>
            <a:ln w="19050">
              <a:solidFill>
                <a:srgbClr val="287DB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7646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349200"/>
            <a:ext cx="7859216" cy="993775"/>
          </a:xfrm>
        </p:spPr>
        <p:txBody>
          <a:bodyPr>
            <a:normAutofit/>
          </a:bodyPr>
          <a:lstStyle/>
          <a:p>
            <a:r>
              <a:rPr lang="en-AU" b="1" dirty="0"/>
              <a:t>Overview of the Points Based Activation System</a:t>
            </a:r>
            <a:br>
              <a:rPr lang="en-AU" b="1" dirty="0"/>
            </a:br>
            <a:endParaRPr lang="en-AU" dirty="0"/>
          </a:p>
        </p:txBody>
      </p:sp>
      <p:sp>
        <p:nvSpPr>
          <p:cNvPr id="10" name="Content Placeholder 4">
            <a:extLst>
              <a:ext uri="{FF2B5EF4-FFF2-40B4-BE49-F238E27FC236}">
                <a16:creationId xmlns:a16="http://schemas.microsoft.com/office/drawing/2014/main" id="{75AD7C9B-2520-4D1E-97EE-45019E7A0F5C}"/>
              </a:ext>
            </a:extLst>
          </p:cNvPr>
          <p:cNvSpPr>
            <a:spLocks noGrp="1"/>
          </p:cNvSpPr>
          <p:nvPr>
            <p:ph idx="1"/>
          </p:nvPr>
        </p:nvSpPr>
        <p:spPr>
          <a:xfrm>
            <a:off x="457200" y="1342976"/>
            <a:ext cx="4051738" cy="3391396"/>
          </a:xfrm>
        </p:spPr>
        <p:txBody>
          <a:bodyPr/>
          <a:lstStyle/>
          <a:p>
            <a:pPr marL="0" indent="0">
              <a:buNone/>
            </a:pPr>
            <a:r>
              <a:rPr lang="en-AU" dirty="0">
                <a:solidFill>
                  <a:schemeClr val="accent5">
                    <a:lumMod val="50000"/>
                  </a:schemeClr>
                </a:solidFill>
                <a:latin typeface="Arial Nova Cond" panose="020B0506020202020204" pitchFamily="34" charset="0"/>
              </a:rPr>
              <a:t>Job seekers will:</a:t>
            </a:r>
          </a:p>
          <a:p>
            <a:pPr marL="285750" indent="-285750">
              <a:buFont typeface="Arial" panose="020B0604020202020204" pitchFamily="34" charset="0"/>
              <a:buChar char="•"/>
            </a:pPr>
            <a:r>
              <a:rPr lang="en-AU" b="0" dirty="0">
                <a:solidFill>
                  <a:schemeClr val="accent5">
                    <a:lumMod val="50000"/>
                  </a:schemeClr>
                </a:solidFill>
                <a:latin typeface="Arial Nova Cond" panose="020B0506020202020204" pitchFamily="34" charset="0"/>
              </a:rPr>
              <a:t>Agree to a job plan.</a:t>
            </a:r>
          </a:p>
          <a:p>
            <a:pPr marL="285750" indent="-285750">
              <a:buFont typeface="Arial" panose="020B0604020202020204" pitchFamily="34" charset="0"/>
              <a:buChar char="•"/>
            </a:pPr>
            <a:r>
              <a:rPr lang="en-AU" b="0" dirty="0">
                <a:solidFill>
                  <a:schemeClr val="accent5">
                    <a:lumMod val="50000"/>
                  </a:schemeClr>
                </a:solidFill>
                <a:latin typeface="Arial Nova Cond" panose="020B0506020202020204" pitchFamily="34" charset="0"/>
              </a:rPr>
              <a:t>Plan, undertake and report points to meet their points target.</a:t>
            </a:r>
          </a:p>
          <a:p>
            <a:pPr marL="285750" indent="-285750">
              <a:buFont typeface="Arial" panose="020B0604020202020204" pitchFamily="34" charset="0"/>
              <a:buChar char="•"/>
            </a:pPr>
            <a:r>
              <a:rPr lang="en-AU" b="0" dirty="0">
                <a:solidFill>
                  <a:schemeClr val="accent5">
                    <a:lumMod val="50000"/>
                  </a:schemeClr>
                </a:solidFill>
                <a:latin typeface="Arial Nova Cond" panose="020B0506020202020204" pitchFamily="34" charset="0"/>
              </a:rPr>
              <a:t>Bank points if they exceed their requirement.</a:t>
            </a:r>
          </a:p>
          <a:p>
            <a:pPr marL="285750" indent="-285750">
              <a:buFont typeface="Arial" panose="020B0604020202020204" pitchFamily="34" charset="0"/>
              <a:buChar char="•"/>
            </a:pPr>
            <a:r>
              <a:rPr lang="en-AU" b="0" dirty="0">
                <a:solidFill>
                  <a:schemeClr val="accent5">
                    <a:lumMod val="50000"/>
                  </a:schemeClr>
                </a:solidFill>
                <a:latin typeface="Arial Nova Cond" panose="020B0506020202020204" pitchFamily="34" charset="0"/>
              </a:rPr>
              <a:t>Be subject to the Targeted Compliance Framework if they don’t meet their requirements.</a:t>
            </a:r>
          </a:p>
        </p:txBody>
      </p:sp>
      <p:pic>
        <p:nvPicPr>
          <p:cNvPr id="2" name="Picture 1" descr="A screen shot of a mockup site page for the points based activation system."/>
          <p:cNvPicPr>
            <a:picLocks noChangeAspect="1"/>
          </p:cNvPicPr>
          <p:nvPr/>
        </p:nvPicPr>
        <p:blipFill>
          <a:blip r:embed="rId3"/>
          <a:stretch>
            <a:fillRect/>
          </a:stretch>
        </p:blipFill>
        <p:spPr>
          <a:xfrm>
            <a:off x="5506947" y="1450792"/>
            <a:ext cx="3242620" cy="2703644"/>
          </a:xfrm>
          <a:prstGeom prst="rect">
            <a:avLst/>
          </a:prstGeom>
          <a:effectLst>
            <a:glow rad="101600">
              <a:schemeClr val="accent3">
                <a:satMod val="175000"/>
                <a:alpha val="40000"/>
              </a:schemeClr>
            </a:glow>
          </a:effectLst>
        </p:spPr>
      </p:pic>
      <p:pic>
        <p:nvPicPr>
          <p:cNvPr id="3" name="Picture 2" descr="A screen shot of a mockup site page for the points based activation system."/>
          <p:cNvPicPr>
            <a:picLocks noChangeAspect="1"/>
          </p:cNvPicPr>
          <p:nvPr/>
        </p:nvPicPr>
        <p:blipFill>
          <a:blip r:embed="rId4"/>
          <a:stretch>
            <a:fillRect/>
          </a:stretch>
        </p:blipFill>
        <p:spPr>
          <a:xfrm>
            <a:off x="4893208" y="3468803"/>
            <a:ext cx="3856359" cy="1371266"/>
          </a:xfrm>
          <a:prstGeom prst="rect">
            <a:avLst/>
          </a:prstGeom>
          <a:ln>
            <a:noFill/>
          </a:ln>
          <a:effectLst>
            <a:glow rad="101600">
              <a:schemeClr val="accent3">
                <a:satMod val="175000"/>
                <a:alpha val="40000"/>
              </a:schemeClr>
            </a:glow>
          </a:effectLst>
        </p:spPr>
      </p:pic>
    </p:spTree>
    <p:extLst>
      <p:ext uri="{BB962C8B-B14F-4D97-AF65-F5344CB8AC3E}">
        <p14:creationId xmlns:p14="http://schemas.microsoft.com/office/powerpoint/2010/main" val="8404302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4A71EF-CCB3-4518-B294-D0B92B137A6E}"/>
              </a:ext>
            </a:extLst>
          </p:cNvPr>
          <p:cNvSpPr>
            <a:spLocks noGrp="1"/>
          </p:cNvSpPr>
          <p:nvPr>
            <p:ph type="title"/>
          </p:nvPr>
        </p:nvSpPr>
        <p:spPr/>
        <p:txBody>
          <a:bodyPr/>
          <a:lstStyle/>
          <a:p>
            <a:r>
              <a:rPr lang="en-US" b="1" dirty="0">
                <a:solidFill>
                  <a:srgbClr val="002D3F"/>
                </a:solidFill>
                <a:latin typeface="Arial Nova" panose="020B0504020202020204" pitchFamily="34" charset="0"/>
              </a:rPr>
              <a:t>PBAS trial: Early feedback is positive</a:t>
            </a:r>
            <a:endParaRPr lang="en-AU" b="1" dirty="0">
              <a:solidFill>
                <a:srgbClr val="002D3F"/>
              </a:solidFill>
              <a:latin typeface="Arial Nova" panose="020B0504020202020204" pitchFamily="34" charset="0"/>
            </a:endParaRPr>
          </a:p>
        </p:txBody>
      </p:sp>
      <p:sp>
        <p:nvSpPr>
          <p:cNvPr id="3" name="Text Placeholder 2">
            <a:extLst>
              <a:ext uri="{FF2B5EF4-FFF2-40B4-BE49-F238E27FC236}">
                <a16:creationId xmlns:a16="http://schemas.microsoft.com/office/drawing/2014/main" id="{5F198A53-1E16-4C31-BCB4-F082F395E3C2}"/>
              </a:ext>
            </a:extLst>
          </p:cNvPr>
          <p:cNvSpPr>
            <a:spLocks noGrp="1"/>
          </p:cNvSpPr>
          <p:nvPr>
            <p:ph type="body" sz="quarter" idx="10"/>
          </p:nvPr>
        </p:nvSpPr>
        <p:spPr>
          <a:xfrm>
            <a:off x="504089" y="3034867"/>
            <a:ext cx="2505974" cy="1815316"/>
          </a:xfrm>
        </p:spPr>
        <p:txBody>
          <a:bodyPr/>
          <a:lstStyle/>
          <a:p>
            <a:pPr>
              <a:lnSpc>
                <a:spcPct val="100000"/>
              </a:lnSpc>
            </a:pPr>
            <a:r>
              <a:rPr lang="en-AU" sz="1400" b="1" dirty="0">
                <a:solidFill>
                  <a:schemeClr val="tx1"/>
                </a:solidFill>
                <a:latin typeface="Arial Nova Cond" panose="020B0506020202020204" pitchFamily="34" charset="0"/>
              </a:rPr>
              <a:t>All providers are using PBAS </a:t>
            </a:r>
            <a:r>
              <a:rPr lang="en-AU" sz="1400" dirty="0">
                <a:solidFill>
                  <a:schemeClr val="tx1"/>
                </a:solidFill>
                <a:latin typeface="Arial Nova Cond" panose="020B0506020202020204" pitchFamily="34" charset="0"/>
              </a:rPr>
              <a:t>with at least some of their caseload.</a:t>
            </a:r>
          </a:p>
        </p:txBody>
      </p:sp>
      <p:sp>
        <p:nvSpPr>
          <p:cNvPr id="4" name="Text Placeholder 3">
            <a:extLst>
              <a:ext uri="{FF2B5EF4-FFF2-40B4-BE49-F238E27FC236}">
                <a16:creationId xmlns:a16="http://schemas.microsoft.com/office/drawing/2014/main" id="{4F3C836D-9E8A-4145-A69C-3ED819AAC984}"/>
              </a:ext>
            </a:extLst>
          </p:cNvPr>
          <p:cNvSpPr>
            <a:spLocks noGrp="1"/>
          </p:cNvSpPr>
          <p:nvPr>
            <p:ph type="body" sz="quarter" idx="11"/>
          </p:nvPr>
        </p:nvSpPr>
        <p:spPr>
          <a:xfrm>
            <a:off x="3204839" y="3034866"/>
            <a:ext cx="2505974" cy="1815316"/>
          </a:xfrm>
        </p:spPr>
        <p:txBody>
          <a:bodyPr/>
          <a:lstStyle/>
          <a:p>
            <a:pPr>
              <a:lnSpc>
                <a:spcPct val="100000"/>
              </a:lnSpc>
            </a:pPr>
            <a:r>
              <a:rPr lang="en-AU" sz="1400" dirty="0">
                <a:solidFill>
                  <a:schemeClr val="tx1"/>
                </a:solidFill>
                <a:latin typeface="Arial Nova Cond" panose="020B0506020202020204" pitchFamily="34" charset="0"/>
              </a:rPr>
              <a:t>Providers are </a:t>
            </a:r>
            <a:r>
              <a:rPr lang="en-AU" sz="1400" b="1" dirty="0">
                <a:solidFill>
                  <a:schemeClr val="tx1"/>
                </a:solidFill>
                <a:latin typeface="Arial Nova Cond" panose="020B0506020202020204" pitchFamily="34" charset="0"/>
              </a:rPr>
              <a:t>broadly supportive of PBAS </a:t>
            </a:r>
            <a:r>
              <a:rPr lang="en-AU" sz="1400" dirty="0">
                <a:solidFill>
                  <a:schemeClr val="tx1"/>
                </a:solidFill>
                <a:latin typeface="Arial Nova Cond" panose="020B0506020202020204" pitchFamily="34" charset="0"/>
              </a:rPr>
              <a:t>and appreciate the flexibility to add and remove participants. </a:t>
            </a:r>
          </a:p>
        </p:txBody>
      </p:sp>
      <p:sp>
        <p:nvSpPr>
          <p:cNvPr id="5" name="Text Placeholder 4">
            <a:extLst>
              <a:ext uri="{FF2B5EF4-FFF2-40B4-BE49-F238E27FC236}">
                <a16:creationId xmlns:a16="http://schemas.microsoft.com/office/drawing/2014/main" id="{CE5DA8FB-5FC7-4BCF-A763-479CA89032B8}"/>
              </a:ext>
            </a:extLst>
          </p:cNvPr>
          <p:cNvSpPr>
            <a:spLocks noGrp="1"/>
          </p:cNvSpPr>
          <p:nvPr>
            <p:ph type="body" sz="quarter" idx="12"/>
          </p:nvPr>
        </p:nvSpPr>
        <p:spPr>
          <a:xfrm>
            <a:off x="5905589" y="3034865"/>
            <a:ext cx="2505974" cy="1815316"/>
          </a:xfrm>
        </p:spPr>
        <p:txBody>
          <a:bodyPr/>
          <a:lstStyle/>
          <a:p>
            <a:pPr>
              <a:lnSpc>
                <a:spcPct val="100000"/>
              </a:lnSpc>
            </a:pPr>
            <a:r>
              <a:rPr lang="en-AU" sz="1400" dirty="0">
                <a:solidFill>
                  <a:schemeClr val="tx1"/>
                </a:solidFill>
                <a:latin typeface="Arial Nova Cond" panose="020B0506020202020204" pitchFamily="34" charset="0"/>
              </a:rPr>
              <a:t>Providers are </a:t>
            </a:r>
            <a:r>
              <a:rPr lang="en-AU" sz="1400" b="1" dirty="0">
                <a:solidFill>
                  <a:schemeClr val="tx1"/>
                </a:solidFill>
                <a:latin typeface="Arial Nova Cond" panose="020B0506020202020204" pitchFamily="34" charset="0"/>
              </a:rPr>
              <a:t>selective about which participants</a:t>
            </a:r>
            <a:r>
              <a:rPr lang="en-AU" sz="1400" dirty="0">
                <a:solidFill>
                  <a:schemeClr val="tx1"/>
                </a:solidFill>
                <a:latin typeface="Arial Nova Cond" panose="020B0506020202020204" pitchFamily="34" charset="0"/>
              </a:rPr>
              <a:t> </a:t>
            </a:r>
            <a:r>
              <a:rPr lang="en-AU" sz="1400" b="1" dirty="0">
                <a:solidFill>
                  <a:schemeClr val="tx1"/>
                </a:solidFill>
                <a:latin typeface="Arial Nova Cond" panose="020B0506020202020204" pitchFamily="34" charset="0"/>
              </a:rPr>
              <a:t>they introduce to PBAS. </a:t>
            </a:r>
          </a:p>
        </p:txBody>
      </p:sp>
      <p:pic>
        <p:nvPicPr>
          <p:cNvPr id="7" name="Graphic 6">
            <a:extLst>
              <a:ext uri="{FF2B5EF4-FFF2-40B4-BE49-F238E27FC236}">
                <a16:creationId xmlns:a16="http://schemas.microsoft.com/office/drawing/2014/main" id="{323408B0-0CCC-4548-B0C4-180E6013D8FC}"/>
              </a:ex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69826" y="1788105"/>
            <a:ext cx="576000" cy="576000"/>
          </a:xfrm>
          <a:prstGeom prst="rect">
            <a:avLst/>
          </a:prstGeom>
        </p:spPr>
      </p:pic>
      <p:pic>
        <p:nvPicPr>
          <p:cNvPr id="8" name="Graphic 7">
            <a:extLst>
              <a:ext uri="{FF2B5EF4-FFF2-40B4-BE49-F238E27FC236}">
                <a16:creationId xmlns:a16="http://schemas.microsoft.com/office/drawing/2014/main" id="{819D198F-E9CA-40FA-9EC8-4F0EB416BEE4}"/>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70576" y="1788105"/>
            <a:ext cx="576000" cy="576000"/>
          </a:xfrm>
          <a:prstGeom prst="rect">
            <a:avLst/>
          </a:prstGeom>
        </p:spPr>
      </p:pic>
      <p:pic>
        <p:nvPicPr>
          <p:cNvPr id="9" name="Graphic 8">
            <a:extLst>
              <a:ext uri="{FF2B5EF4-FFF2-40B4-BE49-F238E27FC236}">
                <a16:creationId xmlns:a16="http://schemas.microsoft.com/office/drawing/2014/main" id="{6599D038-4790-4D38-A5D6-DA5728C60680}"/>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69076" y="1772986"/>
            <a:ext cx="576000" cy="576000"/>
          </a:xfrm>
          <a:prstGeom prst="rect">
            <a:avLst/>
          </a:prstGeom>
        </p:spPr>
      </p:pic>
    </p:spTree>
    <p:extLst>
      <p:ext uri="{BB962C8B-B14F-4D97-AF65-F5344CB8AC3E}">
        <p14:creationId xmlns:p14="http://schemas.microsoft.com/office/powerpoint/2010/main" val="191115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normAutofit/>
          </a:bodyPr>
          <a:lstStyle/>
          <a:p>
            <a:r>
              <a:rPr lang="en-US" sz="2400" b="1" dirty="0">
                <a:latin typeface="Arial Nova" panose="020B0504020202020204" pitchFamily="34" charset="0"/>
              </a:rPr>
              <a:t>Testing and trialing key elements </a:t>
            </a:r>
          </a:p>
        </p:txBody>
      </p:sp>
      <p:grpSp>
        <p:nvGrpSpPr>
          <p:cNvPr id="3" name="Group 2" descr="Different trials in Australia. New Employment Services Trial, Voluntary Online Employment, Online employment services Trial and Online Employment Services.">
            <a:extLst>
              <a:ext uri="{FF2B5EF4-FFF2-40B4-BE49-F238E27FC236}">
                <a16:creationId xmlns:a16="http://schemas.microsoft.com/office/drawing/2014/main" id="{021C4613-1717-4101-B974-ECC335E6993C}"/>
              </a:ext>
            </a:extLst>
          </p:cNvPr>
          <p:cNvGrpSpPr/>
          <p:nvPr/>
        </p:nvGrpSpPr>
        <p:grpSpPr>
          <a:xfrm>
            <a:off x="862570" y="1422594"/>
            <a:ext cx="6822582" cy="3197632"/>
            <a:chOff x="862570" y="1422594"/>
            <a:chExt cx="6822582" cy="3197632"/>
          </a:xfrm>
        </p:grpSpPr>
        <p:grpSp>
          <p:nvGrpSpPr>
            <p:cNvPr id="7" name="Group 6">
              <a:extLst>
                <a:ext uri="{FF2B5EF4-FFF2-40B4-BE49-F238E27FC236}">
                  <a16:creationId xmlns:a16="http://schemas.microsoft.com/office/drawing/2014/main" id="{A0E4080E-4EEF-426B-BE03-1C7D8465DF9A}"/>
                </a:ext>
              </a:extLst>
            </p:cNvPr>
            <p:cNvGrpSpPr/>
            <p:nvPr/>
          </p:nvGrpSpPr>
          <p:grpSpPr>
            <a:xfrm>
              <a:off x="2865017" y="1887927"/>
              <a:ext cx="2840608" cy="2732299"/>
              <a:chOff x="3673475" y="2093439"/>
              <a:chExt cx="4205288" cy="4044951"/>
            </a:xfrm>
            <a:solidFill>
              <a:srgbClr val="EBAD1F">
                <a:alpha val="50196"/>
              </a:srgbClr>
            </a:solidFill>
          </p:grpSpPr>
          <p:sp>
            <p:nvSpPr>
              <p:cNvPr id="19" name="Freeform 19">
                <a:extLst>
                  <a:ext uri="{FF2B5EF4-FFF2-40B4-BE49-F238E27FC236}">
                    <a16:creationId xmlns:a16="http://schemas.microsoft.com/office/drawing/2014/main" id="{C653FB9C-EFCD-495D-AAAC-E7D2D746ADBE}"/>
                  </a:ext>
                </a:extLst>
              </p:cNvPr>
              <p:cNvSpPr>
                <a:spLocks noEditPoints="1"/>
              </p:cNvSpPr>
              <p:nvPr/>
            </p:nvSpPr>
            <p:spPr bwMode="auto">
              <a:xfrm>
                <a:off x="5291138" y="2269652"/>
                <a:ext cx="1019175" cy="1760538"/>
              </a:xfrm>
              <a:custGeom>
                <a:avLst/>
                <a:gdLst>
                  <a:gd name="T0" fmla="*/ 575 w 642"/>
                  <a:gd name="T1" fmla="*/ 349 h 1109"/>
                  <a:gd name="T2" fmla="*/ 540 w 642"/>
                  <a:gd name="T3" fmla="*/ 349 h 1109"/>
                  <a:gd name="T4" fmla="*/ 480 w 642"/>
                  <a:gd name="T5" fmla="*/ 294 h 1109"/>
                  <a:gd name="T6" fmla="*/ 521 w 642"/>
                  <a:gd name="T7" fmla="*/ 208 h 1109"/>
                  <a:gd name="T8" fmla="*/ 552 w 642"/>
                  <a:gd name="T9" fmla="*/ 208 h 1109"/>
                  <a:gd name="T10" fmla="*/ 559 w 642"/>
                  <a:gd name="T11" fmla="*/ 231 h 1109"/>
                  <a:gd name="T12" fmla="*/ 570 w 642"/>
                  <a:gd name="T13" fmla="*/ 249 h 1109"/>
                  <a:gd name="T14" fmla="*/ 533 w 642"/>
                  <a:gd name="T15" fmla="*/ 216 h 1109"/>
                  <a:gd name="T16" fmla="*/ 556 w 642"/>
                  <a:gd name="T17" fmla="*/ 202 h 1109"/>
                  <a:gd name="T18" fmla="*/ 239 w 642"/>
                  <a:gd name="T19" fmla="*/ 88 h 1109"/>
                  <a:gd name="T20" fmla="*/ 515 w 642"/>
                  <a:gd name="T21" fmla="*/ 81 h 1109"/>
                  <a:gd name="T22" fmla="*/ 544 w 642"/>
                  <a:gd name="T23" fmla="*/ 62 h 1109"/>
                  <a:gd name="T24" fmla="*/ 313 w 642"/>
                  <a:gd name="T25" fmla="*/ 51 h 1109"/>
                  <a:gd name="T26" fmla="*/ 530 w 642"/>
                  <a:gd name="T27" fmla="*/ 48 h 1109"/>
                  <a:gd name="T28" fmla="*/ 97 w 642"/>
                  <a:gd name="T29" fmla="*/ 57 h 1109"/>
                  <a:gd name="T30" fmla="*/ 74 w 642"/>
                  <a:gd name="T31" fmla="*/ 58 h 1109"/>
                  <a:gd name="T32" fmla="*/ 104 w 642"/>
                  <a:gd name="T33" fmla="*/ 35 h 1109"/>
                  <a:gd name="T34" fmla="*/ 152 w 642"/>
                  <a:gd name="T35" fmla="*/ 26 h 1109"/>
                  <a:gd name="T36" fmla="*/ 172 w 642"/>
                  <a:gd name="T37" fmla="*/ 41 h 1109"/>
                  <a:gd name="T38" fmla="*/ 104 w 642"/>
                  <a:gd name="T39" fmla="*/ 55 h 1109"/>
                  <a:gd name="T40" fmla="*/ 249 w 642"/>
                  <a:gd name="T41" fmla="*/ 28 h 1109"/>
                  <a:gd name="T42" fmla="*/ 291 w 642"/>
                  <a:gd name="T43" fmla="*/ 41 h 1109"/>
                  <a:gd name="T44" fmla="*/ 324 w 642"/>
                  <a:gd name="T45" fmla="*/ 60 h 1109"/>
                  <a:gd name="T46" fmla="*/ 357 w 642"/>
                  <a:gd name="T47" fmla="*/ 69 h 1109"/>
                  <a:gd name="T48" fmla="*/ 396 w 642"/>
                  <a:gd name="T49" fmla="*/ 82 h 1109"/>
                  <a:gd name="T50" fmla="*/ 445 w 642"/>
                  <a:gd name="T51" fmla="*/ 98 h 1109"/>
                  <a:gd name="T52" fmla="*/ 471 w 642"/>
                  <a:gd name="T53" fmla="*/ 83 h 1109"/>
                  <a:gd name="T54" fmla="*/ 501 w 642"/>
                  <a:gd name="T55" fmla="*/ 61 h 1109"/>
                  <a:gd name="T56" fmla="*/ 499 w 642"/>
                  <a:gd name="T57" fmla="*/ 90 h 1109"/>
                  <a:gd name="T58" fmla="*/ 507 w 642"/>
                  <a:gd name="T59" fmla="*/ 113 h 1109"/>
                  <a:gd name="T60" fmla="*/ 536 w 642"/>
                  <a:gd name="T61" fmla="*/ 76 h 1109"/>
                  <a:gd name="T62" fmla="*/ 558 w 642"/>
                  <a:gd name="T63" fmla="*/ 96 h 1109"/>
                  <a:gd name="T64" fmla="*/ 561 w 642"/>
                  <a:gd name="T65" fmla="*/ 121 h 1109"/>
                  <a:gd name="T66" fmla="*/ 545 w 642"/>
                  <a:gd name="T67" fmla="*/ 147 h 1109"/>
                  <a:gd name="T68" fmla="*/ 529 w 642"/>
                  <a:gd name="T69" fmla="*/ 176 h 1109"/>
                  <a:gd name="T70" fmla="*/ 519 w 642"/>
                  <a:gd name="T71" fmla="*/ 170 h 1109"/>
                  <a:gd name="T72" fmla="*/ 500 w 642"/>
                  <a:gd name="T73" fmla="*/ 186 h 1109"/>
                  <a:gd name="T74" fmla="*/ 502 w 642"/>
                  <a:gd name="T75" fmla="*/ 219 h 1109"/>
                  <a:gd name="T76" fmla="*/ 464 w 642"/>
                  <a:gd name="T77" fmla="*/ 296 h 1109"/>
                  <a:gd name="T78" fmla="*/ 542 w 642"/>
                  <a:gd name="T79" fmla="*/ 355 h 1109"/>
                  <a:gd name="T80" fmla="*/ 601 w 642"/>
                  <a:gd name="T81" fmla="*/ 386 h 1109"/>
                  <a:gd name="T82" fmla="*/ 629 w 642"/>
                  <a:gd name="T83" fmla="*/ 807 h 1109"/>
                  <a:gd name="T84" fmla="*/ 142 w 642"/>
                  <a:gd name="T85" fmla="*/ 1106 h 1109"/>
                  <a:gd name="T86" fmla="*/ 7 w 642"/>
                  <a:gd name="T87" fmla="*/ 300 h 1109"/>
                  <a:gd name="T88" fmla="*/ 26 w 642"/>
                  <a:gd name="T89" fmla="*/ 299 h 1109"/>
                  <a:gd name="T90" fmla="*/ 60 w 642"/>
                  <a:gd name="T91" fmla="*/ 293 h 1109"/>
                  <a:gd name="T92" fmla="*/ 53 w 642"/>
                  <a:gd name="T93" fmla="*/ 271 h 1109"/>
                  <a:gd name="T94" fmla="*/ 37 w 642"/>
                  <a:gd name="T95" fmla="*/ 238 h 1109"/>
                  <a:gd name="T96" fmla="*/ 59 w 642"/>
                  <a:gd name="T97" fmla="*/ 191 h 1109"/>
                  <a:gd name="T98" fmla="*/ 81 w 642"/>
                  <a:gd name="T99" fmla="*/ 149 h 1109"/>
                  <a:gd name="T100" fmla="*/ 116 w 642"/>
                  <a:gd name="T101" fmla="*/ 133 h 1109"/>
                  <a:gd name="T102" fmla="*/ 124 w 642"/>
                  <a:gd name="T103" fmla="*/ 123 h 1109"/>
                  <a:gd name="T104" fmla="*/ 132 w 642"/>
                  <a:gd name="T105" fmla="*/ 105 h 1109"/>
                  <a:gd name="T106" fmla="*/ 159 w 642"/>
                  <a:gd name="T107" fmla="*/ 82 h 1109"/>
                  <a:gd name="T108" fmla="*/ 230 w 642"/>
                  <a:gd name="T109" fmla="*/ 89 h 1109"/>
                  <a:gd name="T110" fmla="*/ 257 w 642"/>
                  <a:gd name="T111" fmla="*/ 77 h 1109"/>
                  <a:gd name="T112" fmla="*/ 221 w 642"/>
                  <a:gd name="T113" fmla="*/ 41 h 1109"/>
                  <a:gd name="T114" fmla="*/ 199 w 642"/>
                  <a:gd name="T115" fmla="*/ 22 h 1109"/>
                  <a:gd name="T116" fmla="*/ 221 w 642"/>
                  <a:gd name="T117" fmla="*/ 28 h 1109"/>
                  <a:gd name="T118" fmla="*/ 231 w 642"/>
                  <a:gd name="T119" fmla="*/ 19 h 1109"/>
                  <a:gd name="T120" fmla="*/ 557 w 642"/>
                  <a:gd name="T121" fmla="*/ 18 h 1109"/>
                  <a:gd name="T122" fmla="*/ 246 w 642"/>
                  <a:gd name="T123" fmla="*/ 8 h 1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1109">
                    <a:moveTo>
                      <a:pt x="550" y="357"/>
                    </a:moveTo>
                    <a:lnTo>
                      <a:pt x="548" y="359"/>
                    </a:lnTo>
                    <a:lnTo>
                      <a:pt x="547" y="358"/>
                    </a:lnTo>
                    <a:lnTo>
                      <a:pt x="545" y="357"/>
                    </a:lnTo>
                    <a:lnTo>
                      <a:pt x="545" y="356"/>
                    </a:lnTo>
                    <a:lnTo>
                      <a:pt x="544" y="355"/>
                    </a:lnTo>
                    <a:lnTo>
                      <a:pt x="545" y="354"/>
                    </a:lnTo>
                    <a:lnTo>
                      <a:pt x="547" y="352"/>
                    </a:lnTo>
                    <a:lnTo>
                      <a:pt x="548" y="351"/>
                    </a:lnTo>
                    <a:lnTo>
                      <a:pt x="549" y="351"/>
                    </a:lnTo>
                    <a:lnTo>
                      <a:pt x="549" y="352"/>
                    </a:lnTo>
                    <a:lnTo>
                      <a:pt x="550" y="352"/>
                    </a:lnTo>
                    <a:lnTo>
                      <a:pt x="551" y="354"/>
                    </a:lnTo>
                    <a:lnTo>
                      <a:pt x="551" y="355"/>
                    </a:lnTo>
                    <a:lnTo>
                      <a:pt x="550" y="357"/>
                    </a:lnTo>
                    <a:close/>
                    <a:moveTo>
                      <a:pt x="558" y="350"/>
                    </a:moveTo>
                    <a:lnTo>
                      <a:pt x="559" y="350"/>
                    </a:lnTo>
                    <a:lnTo>
                      <a:pt x="561" y="351"/>
                    </a:lnTo>
                    <a:lnTo>
                      <a:pt x="561" y="352"/>
                    </a:lnTo>
                    <a:lnTo>
                      <a:pt x="559" y="354"/>
                    </a:lnTo>
                    <a:lnTo>
                      <a:pt x="559" y="352"/>
                    </a:lnTo>
                    <a:lnTo>
                      <a:pt x="558" y="351"/>
                    </a:lnTo>
                    <a:lnTo>
                      <a:pt x="557" y="351"/>
                    </a:lnTo>
                    <a:lnTo>
                      <a:pt x="557" y="352"/>
                    </a:lnTo>
                    <a:lnTo>
                      <a:pt x="557" y="354"/>
                    </a:lnTo>
                    <a:lnTo>
                      <a:pt x="557" y="355"/>
                    </a:lnTo>
                    <a:lnTo>
                      <a:pt x="557" y="356"/>
                    </a:lnTo>
                    <a:lnTo>
                      <a:pt x="556" y="356"/>
                    </a:lnTo>
                    <a:lnTo>
                      <a:pt x="555" y="357"/>
                    </a:lnTo>
                    <a:lnTo>
                      <a:pt x="554" y="357"/>
                    </a:lnTo>
                    <a:lnTo>
                      <a:pt x="554" y="355"/>
                    </a:lnTo>
                    <a:lnTo>
                      <a:pt x="554" y="354"/>
                    </a:lnTo>
                    <a:lnTo>
                      <a:pt x="554" y="352"/>
                    </a:lnTo>
                    <a:lnTo>
                      <a:pt x="554" y="350"/>
                    </a:lnTo>
                    <a:lnTo>
                      <a:pt x="555" y="350"/>
                    </a:lnTo>
                    <a:lnTo>
                      <a:pt x="557" y="350"/>
                    </a:lnTo>
                    <a:lnTo>
                      <a:pt x="558" y="350"/>
                    </a:lnTo>
                    <a:close/>
                    <a:moveTo>
                      <a:pt x="572" y="347"/>
                    </a:moveTo>
                    <a:lnTo>
                      <a:pt x="573" y="347"/>
                    </a:lnTo>
                    <a:lnTo>
                      <a:pt x="575" y="347"/>
                    </a:lnTo>
                    <a:lnTo>
                      <a:pt x="575" y="349"/>
                    </a:lnTo>
                    <a:lnTo>
                      <a:pt x="576" y="350"/>
                    </a:lnTo>
                    <a:lnTo>
                      <a:pt x="577" y="349"/>
                    </a:lnTo>
                    <a:lnTo>
                      <a:pt x="577" y="350"/>
                    </a:lnTo>
                    <a:lnTo>
                      <a:pt x="578" y="351"/>
                    </a:lnTo>
                    <a:lnTo>
                      <a:pt x="578" y="354"/>
                    </a:lnTo>
                    <a:lnTo>
                      <a:pt x="578" y="356"/>
                    </a:lnTo>
                    <a:lnTo>
                      <a:pt x="578" y="357"/>
                    </a:lnTo>
                    <a:lnTo>
                      <a:pt x="578" y="358"/>
                    </a:lnTo>
                    <a:lnTo>
                      <a:pt x="578" y="359"/>
                    </a:lnTo>
                    <a:lnTo>
                      <a:pt x="579" y="359"/>
                    </a:lnTo>
                    <a:lnTo>
                      <a:pt x="579" y="362"/>
                    </a:lnTo>
                    <a:lnTo>
                      <a:pt x="578" y="363"/>
                    </a:lnTo>
                    <a:lnTo>
                      <a:pt x="577" y="365"/>
                    </a:lnTo>
                    <a:lnTo>
                      <a:pt x="576" y="364"/>
                    </a:lnTo>
                    <a:lnTo>
                      <a:pt x="575" y="363"/>
                    </a:lnTo>
                    <a:lnTo>
                      <a:pt x="575" y="362"/>
                    </a:lnTo>
                    <a:lnTo>
                      <a:pt x="573" y="361"/>
                    </a:lnTo>
                    <a:lnTo>
                      <a:pt x="572" y="361"/>
                    </a:lnTo>
                    <a:lnTo>
                      <a:pt x="571" y="358"/>
                    </a:lnTo>
                    <a:lnTo>
                      <a:pt x="571" y="357"/>
                    </a:lnTo>
                    <a:lnTo>
                      <a:pt x="571" y="356"/>
                    </a:lnTo>
                    <a:lnTo>
                      <a:pt x="571" y="355"/>
                    </a:lnTo>
                    <a:lnTo>
                      <a:pt x="570" y="355"/>
                    </a:lnTo>
                    <a:lnTo>
                      <a:pt x="569" y="355"/>
                    </a:lnTo>
                    <a:lnTo>
                      <a:pt x="569" y="356"/>
                    </a:lnTo>
                    <a:lnTo>
                      <a:pt x="568" y="356"/>
                    </a:lnTo>
                    <a:lnTo>
                      <a:pt x="568" y="354"/>
                    </a:lnTo>
                    <a:lnTo>
                      <a:pt x="568" y="352"/>
                    </a:lnTo>
                    <a:lnTo>
                      <a:pt x="569" y="351"/>
                    </a:lnTo>
                    <a:lnTo>
                      <a:pt x="570" y="350"/>
                    </a:lnTo>
                    <a:lnTo>
                      <a:pt x="571" y="351"/>
                    </a:lnTo>
                    <a:lnTo>
                      <a:pt x="571" y="349"/>
                    </a:lnTo>
                    <a:lnTo>
                      <a:pt x="572" y="349"/>
                    </a:lnTo>
                    <a:lnTo>
                      <a:pt x="572" y="348"/>
                    </a:lnTo>
                    <a:lnTo>
                      <a:pt x="572" y="347"/>
                    </a:lnTo>
                    <a:close/>
                    <a:moveTo>
                      <a:pt x="544" y="347"/>
                    </a:moveTo>
                    <a:lnTo>
                      <a:pt x="543" y="349"/>
                    </a:lnTo>
                    <a:lnTo>
                      <a:pt x="542" y="349"/>
                    </a:lnTo>
                    <a:lnTo>
                      <a:pt x="541" y="349"/>
                    </a:lnTo>
                    <a:lnTo>
                      <a:pt x="540" y="348"/>
                    </a:lnTo>
                    <a:lnTo>
                      <a:pt x="540" y="349"/>
                    </a:lnTo>
                    <a:lnTo>
                      <a:pt x="538" y="349"/>
                    </a:lnTo>
                    <a:lnTo>
                      <a:pt x="537" y="349"/>
                    </a:lnTo>
                    <a:lnTo>
                      <a:pt x="536" y="348"/>
                    </a:lnTo>
                    <a:lnTo>
                      <a:pt x="537" y="348"/>
                    </a:lnTo>
                    <a:lnTo>
                      <a:pt x="537" y="347"/>
                    </a:lnTo>
                    <a:lnTo>
                      <a:pt x="537" y="345"/>
                    </a:lnTo>
                    <a:lnTo>
                      <a:pt x="536" y="345"/>
                    </a:lnTo>
                    <a:lnTo>
                      <a:pt x="538" y="344"/>
                    </a:lnTo>
                    <a:lnTo>
                      <a:pt x="538" y="343"/>
                    </a:lnTo>
                    <a:lnTo>
                      <a:pt x="538" y="342"/>
                    </a:lnTo>
                    <a:lnTo>
                      <a:pt x="538" y="341"/>
                    </a:lnTo>
                    <a:lnTo>
                      <a:pt x="540" y="341"/>
                    </a:lnTo>
                    <a:lnTo>
                      <a:pt x="542" y="341"/>
                    </a:lnTo>
                    <a:lnTo>
                      <a:pt x="543" y="340"/>
                    </a:lnTo>
                    <a:lnTo>
                      <a:pt x="544" y="340"/>
                    </a:lnTo>
                    <a:lnTo>
                      <a:pt x="545" y="342"/>
                    </a:lnTo>
                    <a:lnTo>
                      <a:pt x="544" y="343"/>
                    </a:lnTo>
                    <a:lnTo>
                      <a:pt x="544" y="347"/>
                    </a:lnTo>
                    <a:close/>
                    <a:moveTo>
                      <a:pt x="563" y="349"/>
                    </a:moveTo>
                    <a:lnTo>
                      <a:pt x="562" y="349"/>
                    </a:lnTo>
                    <a:lnTo>
                      <a:pt x="561" y="348"/>
                    </a:lnTo>
                    <a:lnTo>
                      <a:pt x="562" y="348"/>
                    </a:lnTo>
                    <a:lnTo>
                      <a:pt x="561" y="347"/>
                    </a:lnTo>
                    <a:lnTo>
                      <a:pt x="562" y="345"/>
                    </a:lnTo>
                    <a:lnTo>
                      <a:pt x="562" y="344"/>
                    </a:lnTo>
                    <a:lnTo>
                      <a:pt x="562" y="343"/>
                    </a:lnTo>
                    <a:lnTo>
                      <a:pt x="562" y="342"/>
                    </a:lnTo>
                    <a:lnTo>
                      <a:pt x="563" y="341"/>
                    </a:lnTo>
                    <a:lnTo>
                      <a:pt x="563" y="340"/>
                    </a:lnTo>
                    <a:lnTo>
                      <a:pt x="564" y="340"/>
                    </a:lnTo>
                    <a:lnTo>
                      <a:pt x="564" y="341"/>
                    </a:lnTo>
                    <a:lnTo>
                      <a:pt x="564" y="342"/>
                    </a:lnTo>
                    <a:lnTo>
                      <a:pt x="565" y="345"/>
                    </a:lnTo>
                    <a:lnTo>
                      <a:pt x="564" y="345"/>
                    </a:lnTo>
                    <a:lnTo>
                      <a:pt x="563" y="347"/>
                    </a:lnTo>
                    <a:lnTo>
                      <a:pt x="564" y="348"/>
                    </a:lnTo>
                    <a:lnTo>
                      <a:pt x="563" y="349"/>
                    </a:lnTo>
                    <a:close/>
                    <a:moveTo>
                      <a:pt x="485" y="293"/>
                    </a:moveTo>
                    <a:lnTo>
                      <a:pt x="484" y="293"/>
                    </a:lnTo>
                    <a:lnTo>
                      <a:pt x="483" y="293"/>
                    </a:lnTo>
                    <a:lnTo>
                      <a:pt x="480" y="294"/>
                    </a:lnTo>
                    <a:lnTo>
                      <a:pt x="479" y="294"/>
                    </a:lnTo>
                    <a:lnTo>
                      <a:pt x="480" y="293"/>
                    </a:lnTo>
                    <a:lnTo>
                      <a:pt x="481" y="292"/>
                    </a:lnTo>
                    <a:lnTo>
                      <a:pt x="481" y="291"/>
                    </a:lnTo>
                    <a:lnTo>
                      <a:pt x="481" y="289"/>
                    </a:lnTo>
                    <a:lnTo>
                      <a:pt x="483" y="288"/>
                    </a:lnTo>
                    <a:lnTo>
                      <a:pt x="484" y="288"/>
                    </a:lnTo>
                    <a:lnTo>
                      <a:pt x="485" y="289"/>
                    </a:lnTo>
                    <a:lnTo>
                      <a:pt x="485" y="291"/>
                    </a:lnTo>
                    <a:lnTo>
                      <a:pt x="485" y="293"/>
                    </a:lnTo>
                    <a:close/>
                    <a:moveTo>
                      <a:pt x="45" y="295"/>
                    </a:moveTo>
                    <a:lnTo>
                      <a:pt x="44" y="296"/>
                    </a:lnTo>
                    <a:lnTo>
                      <a:pt x="43" y="295"/>
                    </a:lnTo>
                    <a:lnTo>
                      <a:pt x="42" y="293"/>
                    </a:lnTo>
                    <a:lnTo>
                      <a:pt x="40" y="292"/>
                    </a:lnTo>
                    <a:lnTo>
                      <a:pt x="42" y="291"/>
                    </a:lnTo>
                    <a:lnTo>
                      <a:pt x="43" y="292"/>
                    </a:lnTo>
                    <a:lnTo>
                      <a:pt x="44" y="293"/>
                    </a:lnTo>
                    <a:lnTo>
                      <a:pt x="45" y="294"/>
                    </a:lnTo>
                    <a:lnTo>
                      <a:pt x="45" y="295"/>
                    </a:lnTo>
                    <a:close/>
                    <a:moveTo>
                      <a:pt x="42" y="299"/>
                    </a:moveTo>
                    <a:lnTo>
                      <a:pt x="42" y="302"/>
                    </a:lnTo>
                    <a:lnTo>
                      <a:pt x="42" y="301"/>
                    </a:lnTo>
                    <a:lnTo>
                      <a:pt x="40" y="300"/>
                    </a:lnTo>
                    <a:lnTo>
                      <a:pt x="39" y="299"/>
                    </a:lnTo>
                    <a:lnTo>
                      <a:pt x="38" y="295"/>
                    </a:lnTo>
                    <a:lnTo>
                      <a:pt x="37" y="294"/>
                    </a:lnTo>
                    <a:lnTo>
                      <a:pt x="36" y="291"/>
                    </a:lnTo>
                    <a:lnTo>
                      <a:pt x="36" y="289"/>
                    </a:lnTo>
                    <a:lnTo>
                      <a:pt x="37" y="291"/>
                    </a:lnTo>
                    <a:lnTo>
                      <a:pt x="40" y="295"/>
                    </a:lnTo>
                    <a:lnTo>
                      <a:pt x="42" y="296"/>
                    </a:lnTo>
                    <a:lnTo>
                      <a:pt x="42" y="299"/>
                    </a:lnTo>
                    <a:close/>
                    <a:moveTo>
                      <a:pt x="562" y="215"/>
                    </a:moveTo>
                    <a:lnTo>
                      <a:pt x="562" y="214"/>
                    </a:lnTo>
                    <a:lnTo>
                      <a:pt x="563" y="214"/>
                    </a:lnTo>
                    <a:lnTo>
                      <a:pt x="562" y="214"/>
                    </a:lnTo>
                    <a:lnTo>
                      <a:pt x="562" y="215"/>
                    </a:lnTo>
                    <a:close/>
                    <a:moveTo>
                      <a:pt x="523" y="208"/>
                    </a:moveTo>
                    <a:lnTo>
                      <a:pt x="522" y="208"/>
                    </a:lnTo>
                    <a:lnTo>
                      <a:pt x="521" y="208"/>
                    </a:lnTo>
                    <a:lnTo>
                      <a:pt x="521" y="209"/>
                    </a:lnTo>
                    <a:lnTo>
                      <a:pt x="522" y="209"/>
                    </a:lnTo>
                    <a:lnTo>
                      <a:pt x="522" y="210"/>
                    </a:lnTo>
                    <a:lnTo>
                      <a:pt x="523" y="211"/>
                    </a:lnTo>
                    <a:lnTo>
                      <a:pt x="522" y="212"/>
                    </a:lnTo>
                    <a:lnTo>
                      <a:pt x="521" y="212"/>
                    </a:lnTo>
                    <a:lnTo>
                      <a:pt x="521" y="214"/>
                    </a:lnTo>
                    <a:lnTo>
                      <a:pt x="521" y="215"/>
                    </a:lnTo>
                    <a:lnTo>
                      <a:pt x="520" y="216"/>
                    </a:lnTo>
                    <a:lnTo>
                      <a:pt x="519" y="216"/>
                    </a:lnTo>
                    <a:lnTo>
                      <a:pt x="518" y="216"/>
                    </a:lnTo>
                    <a:lnTo>
                      <a:pt x="518" y="215"/>
                    </a:lnTo>
                    <a:lnTo>
                      <a:pt x="519" y="215"/>
                    </a:lnTo>
                    <a:lnTo>
                      <a:pt x="518" y="214"/>
                    </a:lnTo>
                    <a:lnTo>
                      <a:pt x="516" y="210"/>
                    </a:lnTo>
                    <a:lnTo>
                      <a:pt x="514" y="210"/>
                    </a:lnTo>
                    <a:lnTo>
                      <a:pt x="514" y="211"/>
                    </a:lnTo>
                    <a:lnTo>
                      <a:pt x="514" y="214"/>
                    </a:lnTo>
                    <a:lnTo>
                      <a:pt x="514" y="215"/>
                    </a:lnTo>
                    <a:lnTo>
                      <a:pt x="512" y="214"/>
                    </a:lnTo>
                    <a:lnTo>
                      <a:pt x="512" y="207"/>
                    </a:lnTo>
                    <a:lnTo>
                      <a:pt x="514" y="208"/>
                    </a:lnTo>
                    <a:lnTo>
                      <a:pt x="515" y="208"/>
                    </a:lnTo>
                    <a:lnTo>
                      <a:pt x="515" y="207"/>
                    </a:lnTo>
                    <a:lnTo>
                      <a:pt x="516" y="205"/>
                    </a:lnTo>
                    <a:lnTo>
                      <a:pt x="516" y="204"/>
                    </a:lnTo>
                    <a:lnTo>
                      <a:pt x="518" y="203"/>
                    </a:lnTo>
                    <a:lnTo>
                      <a:pt x="519" y="202"/>
                    </a:lnTo>
                    <a:lnTo>
                      <a:pt x="520" y="202"/>
                    </a:lnTo>
                    <a:lnTo>
                      <a:pt x="521" y="203"/>
                    </a:lnTo>
                    <a:lnTo>
                      <a:pt x="522" y="203"/>
                    </a:lnTo>
                    <a:lnTo>
                      <a:pt x="522" y="204"/>
                    </a:lnTo>
                    <a:lnTo>
                      <a:pt x="523" y="204"/>
                    </a:lnTo>
                    <a:lnTo>
                      <a:pt x="523" y="205"/>
                    </a:lnTo>
                    <a:lnTo>
                      <a:pt x="524" y="205"/>
                    </a:lnTo>
                    <a:lnTo>
                      <a:pt x="524" y="207"/>
                    </a:lnTo>
                    <a:lnTo>
                      <a:pt x="523" y="208"/>
                    </a:lnTo>
                    <a:close/>
                    <a:moveTo>
                      <a:pt x="556" y="204"/>
                    </a:moveTo>
                    <a:lnTo>
                      <a:pt x="555" y="207"/>
                    </a:lnTo>
                    <a:lnTo>
                      <a:pt x="552" y="207"/>
                    </a:lnTo>
                    <a:lnTo>
                      <a:pt x="552" y="208"/>
                    </a:lnTo>
                    <a:lnTo>
                      <a:pt x="552" y="209"/>
                    </a:lnTo>
                    <a:lnTo>
                      <a:pt x="552" y="210"/>
                    </a:lnTo>
                    <a:lnTo>
                      <a:pt x="554" y="210"/>
                    </a:lnTo>
                    <a:lnTo>
                      <a:pt x="555" y="210"/>
                    </a:lnTo>
                    <a:lnTo>
                      <a:pt x="556" y="210"/>
                    </a:lnTo>
                    <a:lnTo>
                      <a:pt x="555" y="211"/>
                    </a:lnTo>
                    <a:lnTo>
                      <a:pt x="555" y="212"/>
                    </a:lnTo>
                    <a:lnTo>
                      <a:pt x="555" y="214"/>
                    </a:lnTo>
                    <a:lnTo>
                      <a:pt x="555" y="215"/>
                    </a:lnTo>
                    <a:lnTo>
                      <a:pt x="556" y="216"/>
                    </a:lnTo>
                    <a:lnTo>
                      <a:pt x="557" y="216"/>
                    </a:lnTo>
                    <a:lnTo>
                      <a:pt x="561" y="217"/>
                    </a:lnTo>
                    <a:lnTo>
                      <a:pt x="562" y="217"/>
                    </a:lnTo>
                    <a:lnTo>
                      <a:pt x="563" y="216"/>
                    </a:lnTo>
                    <a:lnTo>
                      <a:pt x="564" y="215"/>
                    </a:lnTo>
                    <a:lnTo>
                      <a:pt x="564" y="214"/>
                    </a:lnTo>
                    <a:lnTo>
                      <a:pt x="563" y="214"/>
                    </a:lnTo>
                    <a:lnTo>
                      <a:pt x="563" y="212"/>
                    </a:lnTo>
                    <a:lnTo>
                      <a:pt x="564" y="210"/>
                    </a:lnTo>
                    <a:lnTo>
                      <a:pt x="565" y="210"/>
                    </a:lnTo>
                    <a:lnTo>
                      <a:pt x="568" y="210"/>
                    </a:lnTo>
                    <a:lnTo>
                      <a:pt x="569" y="210"/>
                    </a:lnTo>
                    <a:lnTo>
                      <a:pt x="569" y="211"/>
                    </a:lnTo>
                    <a:lnTo>
                      <a:pt x="570" y="211"/>
                    </a:lnTo>
                    <a:lnTo>
                      <a:pt x="570" y="212"/>
                    </a:lnTo>
                    <a:lnTo>
                      <a:pt x="570" y="214"/>
                    </a:lnTo>
                    <a:lnTo>
                      <a:pt x="570" y="215"/>
                    </a:lnTo>
                    <a:lnTo>
                      <a:pt x="568" y="217"/>
                    </a:lnTo>
                    <a:lnTo>
                      <a:pt x="566" y="218"/>
                    </a:lnTo>
                    <a:lnTo>
                      <a:pt x="565" y="222"/>
                    </a:lnTo>
                    <a:lnTo>
                      <a:pt x="563" y="221"/>
                    </a:lnTo>
                    <a:lnTo>
                      <a:pt x="561" y="222"/>
                    </a:lnTo>
                    <a:lnTo>
                      <a:pt x="558" y="224"/>
                    </a:lnTo>
                    <a:lnTo>
                      <a:pt x="558" y="226"/>
                    </a:lnTo>
                    <a:lnTo>
                      <a:pt x="558" y="228"/>
                    </a:lnTo>
                    <a:lnTo>
                      <a:pt x="558" y="229"/>
                    </a:lnTo>
                    <a:lnTo>
                      <a:pt x="559" y="229"/>
                    </a:lnTo>
                    <a:lnTo>
                      <a:pt x="561" y="230"/>
                    </a:lnTo>
                    <a:lnTo>
                      <a:pt x="562" y="230"/>
                    </a:lnTo>
                    <a:lnTo>
                      <a:pt x="561" y="230"/>
                    </a:lnTo>
                    <a:lnTo>
                      <a:pt x="559" y="231"/>
                    </a:lnTo>
                    <a:lnTo>
                      <a:pt x="559" y="232"/>
                    </a:lnTo>
                    <a:lnTo>
                      <a:pt x="558" y="231"/>
                    </a:lnTo>
                    <a:lnTo>
                      <a:pt x="557" y="232"/>
                    </a:lnTo>
                    <a:lnTo>
                      <a:pt x="557" y="233"/>
                    </a:lnTo>
                    <a:lnTo>
                      <a:pt x="556" y="233"/>
                    </a:lnTo>
                    <a:lnTo>
                      <a:pt x="556" y="232"/>
                    </a:lnTo>
                    <a:lnTo>
                      <a:pt x="555" y="232"/>
                    </a:lnTo>
                    <a:lnTo>
                      <a:pt x="554" y="233"/>
                    </a:lnTo>
                    <a:lnTo>
                      <a:pt x="554" y="235"/>
                    </a:lnTo>
                    <a:lnTo>
                      <a:pt x="554" y="236"/>
                    </a:lnTo>
                    <a:lnTo>
                      <a:pt x="554" y="237"/>
                    </a:lnTo>
                    <a:lnTo>
                      <a:pt x="555" y="240"/>
                    </a:lnTo>
                    <a:lnTo>
                      <a:pt x="555" y="242"/>
                    </a:lnTo>
                    <a:lnTo>
                      <a:pt x="556" y="242"/>
                    </a:lnTo>
                    <a:lnTo>
                      <a:pt x="557" y="242"/>
                    </a:lnTo>
                    <a:lnTo>
                      <a:pt x="559" y="242"/>
                    </a:lnTo>
                    <a:lnTo>
                      <a:pt x="559" y="240"/>
                    </a:lnTo>
                    <a:lnTo>
                      <a:pt x="559" y="239"/>
                    </a:lnTo>
                    <a:lnTo>
                      <a:pt x="562" y="240"/>
                    </a:lnTo>
                    <a:lnTo>
                      <a:pt x="565" y="244"/>
                    </a:lnTo>
                    <a:lnTo>
                      <a:pt x="566" y="244"/>
                    </a:lnTo>
                    <a:lnTo>
                      <a:pt x="568" y="243"/>
                    </a:lnTo>
                    <a:lnTo>
                      <a:pt x="568" y="242"/>
                    </a:lnTo>
                    <a:lnTo>
                      <a:pt x="569" y="242"/>
                    </a:lnTo>
                    <a:lnTo>
                      <a:pt x="569" y="240"/>
                    </a:lnTo>
                    <a:lnTo>
                      <a:pt x="569" y="239"/>
                    </a:lnTo>
                    <a:lnTo>
                      <a:pt x="570" y="239"/>
                    </a:lnTo>
                    <a:lnTo>
                      <a:pt x="571" y="239"/>
                    </a:lnTo>
                    <a:lnTo>
                      <a:pt x="572" y="239"/>
                    </a:lnTo>
                    <a:lnTo>
                      <a:pt x="573" y="239"/>
                    </a:lnTo>
                    <a:lnTo>
                      <a:pt x="572" y="239"/>
                    </a:lnTo>
                    <a:lnTo>
                      <a:pt x="572" y="240"/>
                    </a:lnTo>
                    <a:lnTo>
                      <a:pt x="571" y="242"/>
                    </a:lnTo>
                    <a:lnTo>
                      <a:pt x="570" y="243"/>
                    </a:lnTo>
                    <a:lnTo>
                      <a:pt x="571" y="244"/>
                    </a:lnTo>
                    <a:lnTo>
                      <a:pt x="571" y="245"/>
                    </a:lnTo>
                    <a:lnTo>
                      <a:pt x="572" y="245"/>
                    </a:lnTo>
                    <a:lnTo>
                      <a:pt x="571" y="246"/>
                    </a:lnTo>
                    <a:lnTo>
                      <a:pt x="570" y="247"/>
                    </a:lnTo>
                    <a:lnTo>
                      <a:pt x="571" y="249"/>
                    </a:lnTo>
                    <a:lnTo>
                      <a:pt x="570" y="249"/>
                    </a:lnTo>
                    <a:lnTo>
                      <a:pt x="570" y="250"/>
                    </a:lnTo>
                    <a:lnTo>
                      <a:pt x="569" y="249"/>
                    </a:lnTo>
                    <a:lnTo>
                      <a:pt x="568" y="250"/>
                    </a:lnTo>
                    <a:lnTo>
                      <a:pt x="568" y="251"/>
                    </a:lnTo>
                    <a:lnTo>
                      <a:pt x="565" y="249"/>
                    </a:lnTo>
                    <a:lnTo>
                      <a:pt x="564" y="249"/>
                    </a:lnTo>
                    <a:lnTo>
                      <a:pt x="563" y="250"/>
                    </a:lnTo>
                    <a:lnTo>
                      <a:pt x="562" y="249"/>
                    </a:lnTo>
                    <a:lnTo>
                      <a:pt x="561" y="247"/>
                    </a:lnTo>
                    <a:lnTo>
                      <a:pt x="558" y="247"/>
                    </a:lnTo>
                    <a:lnTo>
                      <a:pt x="556" y="247"/>
                    </a:lnTo>
                    <a:lnTo>
                      <a:pt x="555" y="247"/>
                    </a:lnTo>
                    <a:lnTo>
                      <a:pt x="551" y="249"/>
                    </a:lnTo>
                    <a:lnTo>
                      <a:pt x="549" y="249"/>
                    </a:lnTo>
                    <a:lnTo>
                      <a:pt x="536" y="244"/>
                    </a:lnTo>
                    <a:lnTo>
                      <a:pt x="536" y="243"/>
                    </a:lnTo>
                    <a:lnTo>
                      <a:pt x="534" y="243"/>
                    </a:lnTo>
                    <a:lnTo>
                      <a:pt x="534" y="242"/>
                    </a:lnTo>
                    <a:lnTo>
                      <a:pt x="533" y="242"/>
                    </a:lnTo>
                    <a:lnTo>
                      <a:pt x="530" y="243"/>
                    </a:lnTo>
                    <a:lnTo>
                      <a:pt x="528" y="244"/>
                    </a:lnTo>
                    <a:lnTo>
                      <a:pt x="527" y="244"/>
                    </a:lnTo>
                    <a:lnTo>
                      <a:pt x="527" y="245"/>
                    </a:lnTo>
                    <a:lnTo>
                      <a:pt x="526" y="244"/>
                    </a:lnTo>
                    <a:lnTo>
                      <a:pt x="527" y="244"/>
                    </a:lnTo>
                    <a:lnTo>
                      <a:pt x="527" y="243"/>
                    </a:lnTo>
                    <a:lnTo>
                      <a:pt x="529" y="242"/>
                    </a:lnTo>
                    <a:lnTo>
                      <a:pt x="531" y="240"/>
                    </a:lnTo>
                    <a:lnTo>
                      <a:pt x="533" y="239"/>
                    </a:lnTo>
                    <a:lnTo>
                      <a:pt x="533" y="238"/>
                    </a:lnTo>
                    <a:lnTo>
                      <a:pt x="534" y="237"/>
                    </a:lnTo>
                    <a:lnTo>
                      <a:pt x="535" y="237"/>
                    </a:lnTo>
                    <a:lnTo>
                      <a:pt x="534" y="236"/>
                    </a:lnTo>
                    <a:lnTo>
                      <a:pt x="534" y="235"/>
                    </a:lnTo>
                    <a:lnTo>
                      <a:pt x="533" y="232"/>
                    </a:lnTo>
                    <a:lnTo>
                      <a:pt x="533" y="228"/>
                    </a:lnTo>
                    <a:lnTo>
                      <a:pt x="533" y="225"/>
                    </a:lnTo>
                    <a:lnTo>
                      <a:pt x="534" y="221"/>
                    </a:lnTo>
                    <a:lnTo>
                      <a:pt x="534" y="218"/>
                    </a:lnTo>
                    <a:lnTo>
                      <a:pt x="534" y="217"/>
                    </a:lnTo>
                    <a:lnTo>
                      <a:pt x="533" y="216"/>
                    </a:lnTo>
                    <a:lnTo>
                      <a:pt x="533" y="215"/>
                    </a:lnTo>
                    <a:lnTo>
                      <a:pt x="533" y="214"/>
                    </a:lnTo>
                    <a:lnTo>
                      <a:pt x="534" y="214"/>
                    </a:lnTo>
                    <a:lnTo>
                      <a:pt x="535" y="214"/>
                    </a:lnTo>
                    <a:lnTo>
                      <a:pt x="537" y="216"/>
                    </a:lnTo>
                    <a:lnTo>
                      <a:pt x="537" y="215"/>
                    </a:lnTo>
                    <a:lnTo>
                      <a:pt x="540" y="215"/>
                    </a:lnTo>
                    <a:lnTo>
                      <a:pt x="541" y="215"/>
                    </a:lnTo>
                    <a:lnTo>
                      <a:pt x="541" y="214"/>
                    </a:lnTo>
                    <a:lnTo>
                      <a:pt x="542" y="211"/>
                    </a:lnTo>
                    <a:lnTo>
                      <a:pt x="542" y="212"/>
                    </a:lnTo>
                    <a:lnTo>
                      <a:pt x="543" y="214"/>
                    </a:lnTo>
                    <a:lnTo>
                      <a:pt x="544" y="215"/>
                    </a:lnTo>
                    <a:lnTo>
                      <a:pt x="544" y="212"/>
                    </a:lnTo>
                    <a:lnTo>
                      <a:pt x="545" y="214"/>
                    </a:lnTo>
                    <a:lnTo>
                      <a:pt x="547" y="214"/>
                    </a:lnTo>
                    <a:lnTo>
                      <a:pt x="547" y="211"/>
                    </a:lnTo>
                    <a:lnTo>
                      <a:pt x="548" y="212"/>
                    </a:lnTo>
                    <a:lnTo>
                      <a:pt x="549" y="211"/>
                    </a:lnTo>
                    <a:lnTo>
                      <a:pt x="548" y="210"/>
                    </a:lnTo>
                    <a:lnTo>
                      <a:pt x="548" y="211"/>
                    </a:lnTo>
                    <a:lnTo>
                      <a:pt x="547" y="209"/>
                    </a:lnTo>
                    <a:lnTo>
                      <a:pt x="547" y="208"/>
                    </a:lnTo>
                    <a:lnTo>
                      <a:pt x="545" y="207"/>
                    </a:lnTo>
                    <a:lnTo>
                      <a:pt x="545" y="205"/>
                    </a:lnTo>
                    <a:lnTo>
                      <a:pt x="544" y="205"/>
                    </a:lnTo>
                    <a:lnTo>
                      <a:pt x="544" y="204"/>
                    </a:lnTo>
                    <a:lnTo>
                      <a:pt x="545" y="204"/>
                    </a:lnTo>
                    <a:lnTo>
                      <a:pt x="547" y="204"/>
                    </a:lnTo>
                    <a:lnTo>
                      <a:pt x="548" y="204"/>
                    </a:lnTo>
                    <a:lnTo>
                      <a:pt x="548" y="205"/>
                    </a:lnTo>
                    <a:lnTo>
                      <a:pt x="548" y="207"/>
                    </a:lnTo>
                    <a:lnTo>
                      <a:pt x="549" y="207"/>
                    </a:lnTo>
                    <a:lnTo>
                      <a:pt x="549" y="205"/>
                    </a:lnTo>
                    <a:lnTo>
                      <a:pt x="550" y="205"/>
                    </a:lnTo>
                    <a:lnTo>
                      <a:pt x="551" y="205"/>
                    </a:lnTo>
                    <a:lnTo>
                      <a:pt x="552" y="204"/>
                    </a:lnTo>
                    <a:lnTo>
                      <a:pt x="552" y="203"/>
                    </a:lnTo>
                    <a:lnTo>
                      <a:pt x="552" y="202"/>
                    </a:lnTo>
                    <a:lnTo>
                      <a:pt x="555" y="202"/>
                    </a:lnTo>
                    <a:lnTo>
                      <a:pt x="556" y="202"/>
                    </a:lnTo>
                    <a:lnTo>
                      <a:pt x="556" y="203"/>
                    </a:lnTo>
                    <a:lnTo>
                      <a:pt x="556" y="204"/>
                    </a:lnTo>
                    <a:close/>
                    <a:moveTo>
                      <a:pt x="518" y="187"/>
                    </a:moveTo>
                    <a:lnTo>
                      <a:pt x="519" y="187"/>
                    </a:lnTo>
                    <a:lnTo>
                      <a:pt x="518" y="188"/>
                    </a:lnTo>
                    <a:lnTo>
                      <a:pt x="516" y="187"/>
                    </a:lnTo>
                    <a:lnTo>
                      <a:pt x="516" y="188"/>
                    </a:lnTo>
                    <a:lnTo>
                      <a:pt x="515" y="188"/>
                    </a:lnTo>
                    <a:lnTo>
                      <a:pt x="515" y="189"/>
                    </a:lnTo>
                    <a:lnTo>
                      <a:pt x="515" y="191"/>
                    </a:lnTo>
                    <a:lnTo>
                      <a:pt x="514" y="193"/>
                    </a:lnTo>
                    <a:lnTo>
                      <a:pt x="514" y="195"/>
                    </a:lnTo>
                    <a:lnTo>
                      <a:pt x="513" y="194"/>
                    </a:lnTo>
                    <a:lnTo>
                      <a:pt x="513" y="193"/>
                    </a:lnTo>
                    <a:lnTo>
                      <a:pt x="514" y="191"/>
                    </a:lnTo>
                    <a:lnTo>
                      <a:pt x="514" y="190"/>
                    </a:lnTo>
                    <a:lnTo>
                      <a:pt x="513" y="189"/>
                    </a:lnTo>
                    <a:lnTo>
                      <a:pt x="513" y="188"/>
                    </a:lnTo>
                    <a:lnTo>
                      <a:pt x="514" y="186"/>
                    </a:lnTo>
                    <a:lnTo>
                      <a:pt x="514" y="183"/>
                    </a:lnTo>
                    <a:lnTo>
                      <a:pt x="513" y="182"/>
                    </a:lnTo>
                    <a:lnTo>
                      <a:pt x="513" y="181"/>
                    </a:lnTo>
                    <a:lnTo>
                      <a:pt x="511" y="180"/>
                    </a:lnTo>
                    <a:lnTo>
                      <a:pt x="512" y="180"/>
                    </a:lnTo>
                    <a:lnTo>
                      <a:pt x="513" y="181"/>
                    </a:lnTo>
                    <a:lnTo>
                      <a:pt x="514" y="182"/>
                    </a:lnTo>
                    <a:lnTo>
                      <a:pt x="515" y="183"/>
                    </a:lnTo>
                    <a:lnTo>
                      <a:pt x="516" y="186"/>
                    </a:lnTo>
                    <a:lnTo>
                      <a:pt x="518" y="186"/>
                    </a:lnTo>
                    <a:lnTo>
                      <a:pt x="518" y="187"/>
                    </a:lnTo>
                    <a:close/>
                    <a:moveTo>
                      <a:pt x="566" y="89"/>
                    </a:moveTo>
                    <a:lnTo>
                      <a:pt x="565" y="89"/>
                    </a:lnTo>
                    <a:lnTo>
                      <a:pt x="564" y="89"/>
                    </a:lnTo>
                    <a:lnTo>
                      <a:pt x="564" y="88"/>
                    </a:lnTo>
                    <a:lnTo>
                      <a:pt x="564" y="85"/>
                    </a:lnTo>
                    <a:lnTo>
                      <a:pt x="565" y="85"/>
                    </a:lnTo>
                    <a:lnTo>
                      <a:pt x="565" y="86"/>
                    </a:lnTo>
                    <a:lnTo>
                      <a:pt x="565" y="88"/>
                    </a:lnTo>
                    <a:lnTo>
                      <a:pt x="566" y="89"/>
                    </a:lnTo>
                    <a:close/>
                    <a:moveTo>
                      <a:pt x="242" y="88"/>
                    </a:moveTo>
                    <a:lnTo>
                      <a:pt x="239" y="88"/>
                    </a:lnTo>
                    <a:lnTo>
                      <a:pt x="236" y="85"/>
                    </a:lnTo>
                    <a:lnTo>
                      <a:pt x="237" y="84"/>
                    </a:lnTo>
                    <a:lnTo>
                      <a:pt x="238" y="83"/>
                    </a:lnTo>
                    <a:lnTo>
                      <a:pt x="239" y="83"/>
                    </a:lnTo>
                    <a:lnTo>
                      <a:pt x="242" y="84"/>
                    </a:lnTo>
                    <a:lnTo>
                      <a:pt x="242" y="85"/>
                    </a:lnTo>
                    <a:lnTo>
                      <a:pt x="242" y="88"/>
                    </a:lnTo>
                    <a:close/>
                    <a:moveTo>
                      <a:pt x="427" y="85"/>
                    </a:moveTo>
                    <a:lnTo>
                      <a:pt x="424" y="85"/>
                    </a:lnTo>
                    <a:lnTo>
                      <a:pt x="423" y="85"/>
                    </a:lnTo>
                    <a:lnTo>
                      <a:pt x="423" y="84"/>
                    </a:lnTo>
                    <a:lnTo>
                      <a:pt x="422" y="83"/>
                    </a:lnTo>
                    <a:lnTo>
                      <a:pt x="421" y="79"/>
                    </a:lnTo>
                    <a:lnTo>
                      <a:pt x="423" y="81"/>
                    </a:lnTo>
                    <a:lnTo>
                      <a:pt x="423" y="82"/>
                    </a:lnTo>
                    <a:lnTo>
                      <a:pt x="424" y="82"/>
                    </a:lnTo>
                    <a:lnTo>
                      <a:pt x="426" y="82"/>
                    </a:lnTo>
                    <a:lnTo>
                      <a:pt x="427" y="82"/>
                    </a:lnTo>
                    <a:lnTo>
                      <a:pt x="427" y="83"/>
                    </a:lnTo>
                    <a:lnTo>
                      <a:pt x="427" y="85"/>
                    </a:lnTo>
                    <a:close/>
                    <a:moveTo>
                      <a:pt x="430" y="81"/>
                    </a:moveTo>
                    <a:lnTo>
                      <a:pt x="428" y="81"/>
                    </a:lnTo>
                    <a:lnTo>
                      <a:pt x="427" y="81"/>
                    </a:lnTo>
                    <a:lnTo>
                      <a:pt x="426" y="79"/>
                    </a:lnTo>
                    <a:lnTo>
                      <a:pt x="426" y="78"/>
                    </a:lnTo>
                    <a:lnTo>
                      <a:pt x="429" y="78"/>
                    </a:lnTo>
                    <a:lnTo>
                      <a:pt x="429" y="79"/>
                    </a:lnTo>
                    <a:lnTo>
                      <a:pt x="430" y="79"/>
                    </a:lnTo>
                    <a:lnTo>
                      <a:pt x="430" y="81"/>
                    </a:lnTo>
                    <a:close/>
                    <a:moveTo>
                      <a:pt x="528" y="79"/>
                    </a:moveTo>
                    <a:lnTo>
                      <a:pt x="524" y="81"/>
                    </a:lnTo>
                    <a:lnTo>
                      <a:pt x="522" y="82"/>
                    </a:lnTo>
                    <a:lnTo>
                      <a:pt x="521" y="82"/>
                    </a:lnTo>
                    <a:lnTo>
                      <a:pt x="521" y="83"/>
                    </a:lnTo>
                    <a:lnTo>
                      <a:pt x="520" y="83"/>
                    </a:lnTo>
                    <a:lnTo>
                      <a:pt x="519" y="84"/>
                    </a:lnTo>
                    <a:lnTo>
                      <a:pt x="518" y="84"/>
                    </a:lnTo>
                    <a:lnTo>
                      <a:pt x="516" y="84"/>
                    </a:lnTo>
                    <a:lnTo>
                      <a:pt x="515" y="83"/>
                    </a:lnTo>
                    <a:lnTo>
                      <a:pt x="515" y="82"/>
                    </a:lnTo>
                    <a:lnTo>
                      <a:pt x="515" y="81"/>
                    </a:lnTo>
                    <a:lnTo>
                      <a:pt x="515" y="79"/>
                    </a:lnTo>
                    <a:lnTo>
                      <a:pt x="516" y="79"/>
                    </a:lnTo>
                    <a:lnTo>
                      <a:pt x="516" y="81"/>
                    </a:lnTo>
                    <a:lnTo>
                      <a:pt x="518" y="81"/>
                    </a:lnTo>
                    <a:lnTo>
                      <a:pt x="520" y="78"/>
                    </a:lnTo>
                    <a:lnTo>
                      <a:pt x="521" y="78"/>
                    </a:lnTo>
                    <a:lnTo>
                      <a:pt x="520" y="79"/>
                    </a:lnTo>
                    <a:lnTo>
                      <a:pt x="520" y="81"/>
                    </a:lnTo>
                    <a:lnTo>
                      <a:pt x="521" y="81"/>
                    </a:lnTo>
                    <a:lnTo>
                      <a:pt x="522" y="79"/>
                    </a:lnTo>
                    <a:lnTo>
                      <a:pt x="523" y="79"/>
                    </a:lnTo>
                    <a:lnTo>
                      <a:pt x="524" y="79"/>
                    </a:lnTo>
                    <a:lnTo>
                      <a:pt x="526" y="77"/>
                    </a:lnTo>
                    <a:lnTo>
                      <a:pt x="527" y="76"/>
                    </a:lnTo>
                    <a:lnTo>
                      <a:pt x="529" y="77"/>
                    </a:lnTo>
                    <a:lnTo>
                      <a:pt x="528" y="79"/>
                    </a:lnTo>
                    <a:close/>
                    <a:moveTo>
                      <a:pt x="438" y="72"/>
                    </a:moveTo>
                    <a:lnTo>
                      <a:pt x="436" y="74"/>
                    </a:lnTo>
                    <a:lnTo>
                      <a:pt x="435" y="72"/>
                    </a:lnTo>
                    <a:lnTo>
                      <a:pt x="436" y="71"/>
                    </a:lnTo>
                    <a:lnTo>
                      <a:pt x="438" y="71"/>
                    </a:lnTo>
                    <a:lnTo>
                      <a:pt x="440" y="71"/>
                    </a:lnTo>
                    <a:lnTo>
                      <a:pt x="441" y="71"/>
                    </a:lnTo>
                    <a:lnTo>
                      <a:pt x="440" y="72"/>
                    </a:lnTo>
                    <a:lnTo>
                      <a:pt x="438" y="72"/>
                    </a:lnTo>
                    <a:close/>
                    <a:moveTo>
                      <a:pt x="540" y="71"/>
                    </a:moveTo>
                    <a:lnTo>
                      <a:pt x="540" y="70"/>
                    </a:lnTo>
                    <a:lnTo>
                      <a:pt x="540" y="69"/>
                    </a:lnTo>
                    <a:lnTo>
                      <a:pt x="541" y="67"/>
                    </a:lnTo>
                    <a:lnTo>
                      <a:pt x="541" y="64"/>
                    </a:lnTo>
                    <a:lnTo>
                      <a:pt x="542" y="63"/>
                    </a:lnTo>
                    <a:lnTo>
                      <a:pt x="542" y="64"/>
                    </a:lnTo>
                    <a:lnTo>
                      <a:pt x="541" y="69"/>
                    </a:lnTo>
                    <a:lnTo>
                      <a:pt x="541" y="70"/>
                    </a:lnTo>
                    <a:lnTo>
                      <a:pt x="541" y="71"/>
                    </a:lnTo>
                    <a:lnTo>
                      <a:pt x="540" y="71"/>
                    </a:lnTo>
                    <a:close/>
                    <a:moveTo>
                      <a:pt x="549" y="62"/>
                    </a:moveTo>
                    <a:lnTo>
                      <a:pt x="549" y="63"/>
                    </a:lnTo>
                    <a:lnTo>
                      <a:pt x="547" y="63"/>
                    </a:lnTo>
                    <a:lnTo>
                      <a:pt x="544" y="63"/>
                    </a:lnTo>
                    <a:lnTo>
                      <a:pt x="544" y="62"/>
                    </a:lnTo>
                    <a:lnTo>
                      <a:pt x="545" y="62"/>
                    </a:lnTo>
                    <a:lnTo>
                      <a:pt x="547" y="62"/>
                    </a:lnTo>
                    <a:lnTo>
                      <a:pt x="548" y="62"/>
                    </a:lnTo>
                    <a:lnTo>
                      <a:pt x="549" y="61"/>
                    </a:lnTo>
                    <a:lnTo>
                      <a:pt x="550" y="60"/>
                    </a:lnTo>
                    <a:lnTo>
                      <a:pt x="551" y="58"/>
                    </a:lnTo>
                    <a:lnTo>
                      <a:pt x="551" y="60"/>
                    </a:lnTo>
                    <a:lnTo>
                      <a:pt x="551" y="61"/>
                    </a:lnTo>
                    <a:lnTo>
                      <a:pt x="549" y="62"/>
                    </a:lnTo>
                    <a:close/>
                    <a:moveTo>
                      <a:pt x="506" y="56"/>
                    </a:moveTo>
                    <a:lnTo>
                      <a:pt x="505" y="56"/>
                    </a:lnTo>
                    <a:lnTo>
                      <a:pt x="502" y="56"/>
                    </a:lnTo>
                    <a:lnTo>
                      <a:pt x="502" y="54"/>
                    </a:lnTo>
                    <a:lnTo>
                      <a:pt x="505" y="53"/>
                    </a:lnTo>
                    <a:lnTo>
                      <a:pt x="507" y="51"/>
                    </a:lnTo>
                    <a:lnTo>
                      <a:pt x="509" y="51"/>
                    </a:lnTo>
                    <a:lnTo>
                      <a:pt x="507" y="55"/>
                    </a:lnTo>
                    <a:lnTo>
                      <a:pt x="506" y="56"/>
                    </a:lnTo>
                    <a:close/>
                    <a:moveTo>
                      <a:pt x="253" y="50"/>
                    </a:moveTo>
                    <a:lnTo>
                      <a:pt x="255" y="51"/>
                    </a:lnTo>
                    <a:lnTo>
                      <a:pt x="257" y="50"/>
                    </a:lnTo>
                    <a:lnTo>
                      <a:pt x="258" y="50"/>
                    </a:lnTo>
                    <a:lnTo>
                      <a:pt x="258" y="51"/>
                    </a:lnTo>
                    <a:lnTo>
                      <a:pt x="259" y="53"/>
                    </a:lnTo>
                    <a:lnTo>
                      <a:pt x="258" y="53"/>
                    </a:lnTo>
                    <a:lnTo>
                      <a:pt x="258" y="54"/>
                    </a:lnTo>
                    <a:lnTo>
                      <a:pt x="258" y="55"/>
                    </a:lnTo>
                    <a:lnTo>
                      <a:pt x="257" y="55"/>
                    </a:lnTo>
                    <a:lnTo>
                      <a:pt x="256" y="56"/>
                    </a:lnTo>
                    <a:lnTo>
                      <a:pt x="255" y="56"/>
                    </a:lnTo>
                    <a:lnTo>
                      <a:pt x="252" y="56"/>
                    </a:lnTo>
                    <a:lnTo>
                      <a:pt x="251" y="55"/>
                    </a:lnTo>
                    <a:lnTo>
                      <a:pt x="250" y="54"/>
                    </a:lnTo>
                    <a:lnTo>
                      <a:pt x="249" y="53"/>
                    </a:lnTo>
                    <a:lnTo>
                      <a:pt x="249" y="51"/>
                    </a:lnTo>
                    <a:lnTo>
                      <a:pt x="250" y="50"/>
                    </a:lnTo>
                    <a:lnTo>
                      <a:pt x="251" y="50"/>
                    </a:lnTo>
                    <a:lnTo>
                      <a:pt x="252" y="50"/>
                    </a:lnTo>
                    <a:lnTo>
                      <a:pt x="253" y="50"/>
                    </a:lnTo>
                    <a:close/>
                    <a:moveTo>
                      <a:pt x="314" y="51"/>
                    </a:moveTo>
                    <a:lnTo>
                      <a:pt x="313" y="51"/>
                    </a:lnTo>
                    <a:lnTo>
                      <a:pt x="312" y="51"/>
                    </a:lnTo>
                    <a:lnTo>
                      <a:pt x="312" y="49"/>
                    </a:lnTo>
                    <a:lnTo>
                      <a:pt x="312" y="48"/>
                    </a:lnTo>
                    <a:lnTo>
                      <a:pt x="313" y="48"/>
                    </a:lnTo>
                    <a:lnTo>
                      <a:pt x="315" y="47"/>
                    </a:lnTo>
                    <a:lnTo>
                      <a:pt x="316" y="46"/>
                    </a:lnTo>
                    <a:lnTo>
                      <a:pt x="319" y="46"/>
                    </a:lnTo>
                    <a:lnTo>
                      <a:pt x="320" y="46"/>
                    </a:lnTo>
                    <a:lnTo>
                      <a:pt x="321" y="47"/>
                    </a:lnTo>
                    <a:lnTo>
                      <a:pt x="320" y="48"/>
                    </a:lnTo>
                    <a:lnTo>
                      <a:pt x="317" y="48"/>
                    </a:lnTo>
                    <a:lnTo>
                      <a:pt x="315" y="48"/>
                    </a:lnTo>
                    <a:lnTo>
                      <a:pt x="314" y="49"/>
                    </a:lnTo>
                    <a:lnTo>
                      <a:pt x="315" y="50"/>
                    </a:lnTo>
                    <a:lnTo>
                      <a:pt x="314" y="51"/>
                    </a:lnTo>
                    <a:close/>
                    <a:moveTo>
                      <a:pt x="540" y="43"/>
                    </a:moveTo>
                    <a:lnTo>
                      <a:pt x="535" y="46"/>
                    </a:lnTo>
                    <a:lnTo>
                      <a:pt x="534" y="48"/>
                    </a:lnTo>
                    <a:lnTo>
                      <a:pt x="530" y="49"/>
                    </a:lnTo>
                    <a:lnTo>
                      <a:pt x="529" y="50"/>
                    </a:lnTo>
                    <a:lnTo>
                      <a:pt x="528" y="50"/>
                    </a:lnTo>
                    <a:lnTo>
                      <a:pt x="528" y="49"/>
                    </a:lnTo>
                    <a:lnTo>
                      <a:pt x="527" y="50"/>
                    </a:lnTo>
                    <a:lnTo>
                      <a:pt x="526" y="51"/>
                    </a:lnTo>
                    <a:lnTo>
                      <a:pt x="524" y="53"/>
                    </a:lnTo>
                    <a:lnTo>
                      <a:pt x="523" y="53"/>
                    </a:lnTo>
                    <a:lnTo>
                      <a:pt x="522" y="53"/>
                    </a:lnTo>
                    <a:lnTo>
                      <a:pt x="520" y="54"/>
                    </a:lnTo>
                    <a:lnTo>
                      <a:pt x="519" y="55"/>
                    </a:lnTo>
                    <a:lnTo>
                      <a:pt x="519" y="54"/>
                    </a:lnTo>
                    <a:lnTo>
                      <a:pt x="520" y="51"/>
                    </a:lnTo>
                    <a:lnTo>
                      <a:pt x="521" y="51"/>
                    </a:lnTo>
                    <a:lnTo>
                      <a:pt x="523" y="50"/>
                    </a:lnTo>
                    <a:lnTo>
                      <a:pt x="523" y="49"/>
                    </a:lnTo>
                    <a:lnTo>
                      <a:pt x="524" y="48"/>
                    </a:lnTo>
                    <a:lnTo>
                      <a:pt x="526" y="47"/>
                    </a:lnTo>
                    <a:lnTo>
                      <a:pt x="527" y="46"/>
                    </a:lnTo>
                    <a:lnTo>
                      <a:pt x="527" y="47"/>
                    </a:lnTo>
                    <a:lnTo>
                      <a:pt x="528" y="48"/>
                    </a:lnTo>
                    <a:lnTo>
                      <a:pt x="529" y="49"/>
                    </a:lnTo>
                    <a:lnTo>
                      <a:pt x="530" y="48"/>
                    </a:lnTo>
                    <a:lnTo>
                      <a:pt x="533" y="44"/>
                    </a:lnTo>
                    <a:lnTo>
                      <a:pt x="534" y="44"/>
                    </a:lnTo>
                    <a:lnTo>
                      <a:pt x="534" y="43"/>
                    </a:lnTo>
                    <a:lnTo>
                      <a:pt x="535" y="43"/>
                    </a:lnTo>
                    <a:lnTo>
                      <a:pt x="537" y="42"/>
                    </a:lnTo>
                    <a:lnTo>
                      <a:pt x="540" y="40"/>
                    </a:lnTo>
                    <a:lnTo>
                      <a:pt x="541" y="40"/>
                    </a:lnTo>
                    <a:lnTo>
                      <a:pt x="541" y="39"/>
                    </a:lnTo>
                    <a:lnTo>
                      <a:pt x="542" y="40"/>
                    </a:lnTo>
                    <a:lnTo>
                      <a:pt x="541" y="41"/>
                    </a:lnTo>
                    <a:lnTo>
                      <a:pt x="540" y="43"/>
                    </a:lnTo>
                    <a:close/>
                    <a:moveTo>
                      <a:pt x="322" y="40"/>
                    </a:moveTo>
                    <a:lnTo>
                      <a:pt x="321" y="40"/>
                    </a:lnTo>
                    <a:lnTo>
                      <a:pt x="320" y="40"/>
                    </a:lnTo>
                    <a:lnTo>
                      <a:pt x="319" y="40"/>
                    </a:lnTo>
                    <a:lnTo>
                      <a:pt x="317" y="40"/>
                    </a:lnTo>
                    <a:lnTo>
                      <a:pt x="316" y="40"/>
                    </a:lnTo>
                    <a:lnTo>
                      <a:pt x="315" y="41"/>
                    </a:lnTo>
                    <a:lnTo>
                      <a:pt x="314" y="42"/>
                    </a:lnTo>
                    <a:lnTo>
                      <a:pt x="314" y="41"/>
                    </a:lnTo>
                    <a:lnTo>
                      <a:pt x="314" y="40"/>
                    </a:lnTo>
                    <a:lnTo>
                      <a:pt x="314" y="39"/>
                    </a:lnTo>
                    <a:lnTo>
                      <a:pt x="316" y="39"/>
                    </a:lnTo>
                    <a:lnTo>
                      <a:pt x="317" y="37"/>
                    </a:lnTo>
                    <a:lnTo>
                      <a:pt x="319" y="36"/>
                    </a:lnTo>
                    <a:lnTo>
                      <a:pt x="320" y="36"/>
                    </a:lnTo>
                    <a:lnTo>
                      <a:pt x="320" y="37"/>
                    </a:lnTo>
                    <a:lnTo>
                      <a:pt x="321" y="39"/>
                    </a:lnTo>
                    <a:lnTo>
                      <a:pt x="322" y="40"/>
                    </a:lnTo>
                    <a:close/>
                    <a:moveTo>
                      <a:pt x="92" y="41"/>
                    </a:moveTo>
                    <a:lnTo>
                      <a:pt x="92" y="42"/>
                    </a:lnTo>
                    <a:lnTo>
                      <a:pt x="92" y="44"/>
                    </a:lnTo>
                    <a:lnTo>
                      <a:pt x="93" y="46"/>
                    </a:lnTo>
                    <a:lnTo>
                      <a:pt x="96" y="48"/>
                    </a:lnTo>
                    <a:lnTo>
                      <a:pt x="97" y="50"/>
                    </a:lnTo>
                    <a:lnTo>
                      <a:pt x="97" y="51"/>
                    </a:lnTo>
                    <a:lnTo>
                      <a:pt x="97" y="54"/>
                    </a:lnTo>
                    <a:lnTo>
                      <a:pt x="97" y="56"/>
                    </a:lnTo>
                    <a:lnTo>
                      <a:pt x="96" y="57"/>
                    </a:lnTo>
                    <a:lnTo>
                      <a:pt x="96" y="58"/>
                    </a:lnTo>
                    <a:lnTo>
                      <a:pt x="97" y="57"/>
                    </a:lnTo>
                    <a:lnTo>
                      <a:pt x="99" y="57"/>
                    </a:lnTo>
                    <a:lnTo>
                      <a:pt x="100" y="57"/>
                    </a:lnTo>
                    <a:lnTo>
                      <a:pt x="103" y="57"/>
                    </a:lnTo>
                    <a:lnTo>
                      <a:pt x="103" y="58"/>
                    </a:lnTo>
                    <a:lnTo>
                      <a:pt x="104" y="57"/>
                    </a:lnTo>
                    <a:lnTo>
                      <a:pt x="106" y="58"/>
                    </a:lnTo>
                    <a:lnTo>
                      <a:pt x="109" y="61"/>
                    </a:lnTo>
                    <a:lnTo>
                      <a:pt x="110" y="62"/>
                    </a:lnTo>
                    <a:lnTo>
                      <a:pt x="110" y="63"/>
                    </a:lnTo>
                    <a:lnTo>
                      <a:pt x="110" y="64"/>
                    </a:lnTo>
                    <a:lnTo>
                      <a:pt x="110" y="65"/>
                    </a:lnTo>
                    <a:lnTo>
                      <a:pt x="109" y="67"/>
                    </a:lnTo>
                    <a:lnTo>
                      <a:pt x="106" y="68"/>
                    </a:lnTo>
                    <a:lnTo>
                      <a:pt x="102" y="68"/>
                    </a:lnTo>
                    <a:lnTo>
                      <a:pt x="101" y="68"/>
                    </a:lnTo>
                    <a:lnTo>
                      <a:pt x="99" y="68"/>
                    </a:lnTo>
                    <a:lnTo>
                      <a:pt x="96" y="67"/>
                    </a:lnTo>
                    <a:lnTo>
                      <a:pt x="94" y="65"/>
                    </a:lnTo>
                    <a:lnTo>
                      <a:pt x="92" y="65"/>
                    </a:lnTo>
                    <a:lnTo>
                      <a:pt x="90" y="65"/>
                    </a:lnTo>
                    <a:lnTo>
                      <a:pt x="88" y="64"/>
                    </a:lnTo>
                    <a:lnTo>
                      <a:pt x="87" y="63"/>
                    </a:lnTo>
                    <a:lnTo>
                      <a:pt x="86" y="63"/>
                    </a:lnTo>
                    <a:lnTo>
                      <a:pt x="85" y="64"/>
                    </a:lnTo>
                    <a:lnTo>
                      <a:pt x="81" y="65"/>
                    </a:lnTo>
                    <a:lnTo>
                      <a:pt x="75" y="68"/>
                    </a:lnTo>
                    <a:lnTo>
                      <a:pt x="73" y="68"/>
                    </a:lnTo>
                    <a:lnTo>
                      <a:pt x="71" y="68"/>
                    </a:lnTo>
                    <a:lnTo>
                      <a:pt x="68" y="68"/>
                    </a:lnTo>
                    <a:lnTo>
                      <a:pt x="67" y="67"/>
                    </a:lnTo>
                    <a:lnTo>
                      <a:pt x="66" y="65"/>
                    </a:lnTo>
                    <a:lnTo>
                      <a:pt x="65" y="65"/>
                    </a:lnTo>
                    <a:lnTo>
                      <a:pt x="65" y="64"/>
                    </a:lnTo>
                    <a:lnTo>
                      <a:pt x="66" y="63"/>
                    </a:lnTo>
                    <a:lnTo>
                      <a:pt x="68" y="63"/>
                    </a:lnTo>
                    <a:lnTo>
                      <a:pt x="70" y="62"/>
                    </a:lnTo>
                    <a:lnTo>
                      <a:pt x="68" y="58"/>
                    </a:lnTo>
                    <a:lnTo>
                      <a:pt x="68" y="56"/>
                    </a:lnTo>
                    <a:lnTo>
                      <a:pt x="70" y="57"/>
                    </a:lnTo>
                    <a:lnTo>
                      <a:pt x="72" y="58"/>
                    </a:lnTo>
                    <a:lnTo>
                      <a:pt x="74" y="58"/>
                    </a:lnTo>
                    <a:lnTo>
                      <a:pt x="76" y="58"/>
                    </a:lnTo>
                    <a:lnTo>
                      <a:pt x="78" y="57"/>
                    </a:lnTo>
                    <a:lnTo>
                      <a:pt x="79" y="55"/>
                    </a:lnTo>
                    <a:lnTo>
                      <a:pt x="78" y="54"/>
                    </a:lnTo>
                    <a:lnTo>
                      <a:pt x="76" y="47"/>
                    </a:lnTo>
                    <a:lnTo>
                      <a:pt x="78" y="46"/>
                    </a:lnTo>
                    <a:lnTo>
                      <a:pt x="78" y="44"/>
                    </a:lnTo>
                    <a:lnTo>
                      <a:pt x="78" y="43"/>
                    </a:lnTo>
                    <a:lnTo>
                      <a:pt x="76" y="42"/>
                    </a:lnTo>
                    <a:lnTo>
                      <a:pt x="75" y="42"/>
                    </a:lnTo>
                    <a:lnTo>
                      <a:pt x="74" y="43"/>
                    </a:lnTo>
                    <a:lnTo>
                      <a:pt x="75" y="40"/>
                    </a:lnTo>
                    <a:lnTo>
                      <a:pt x="76" y="39"/>
                    </a:lnTo>
                    <a:lnTo>
                      <a:pt x="78" y="37"/>
                    </a:lnTo>
                    <a:lnTo>
                      <a:pt x="79" y="36"/>
                    </a:lnTo>
                    <a:lnTo>
                      <a:pt x="80" y="36"/>
                    </a:lnTo>
                    <a:lnTo>
                      <a:pt x="82" y="32"/>
                    </a:lnTo>
                    <a:lnTo>
                      <a:pt x="85" y="30"/>
                    </a:lnTo>
                    <a:lnTo>
                      <a:pt x="86" y="30"/>
                    </a:lnTo>
                    <a:lnTo>
                      <a:pt x="87" y="30"/>
                    </a:lnTo>
                    <a:lnTo>
                      <a:pt x="88" y="29"/>
                    </a:lnTo>
                    <a:lnTo>
                      <a:pt x="88" y="32"/>
                    </a:lnTo>
                    <a:lnTo>
                      <a:pt x="89" y="33"/>
                    </a:lnTo>
                    <a:lnTo>
                      <a:pt x="90" y="35"/>
                    </a:lnTo>
                    <a:lnTo>
                      <a:pt x="93" y="37"/>
                    </a:lnTo>
                    <a:lnTo>
                      <a:pt x="93" y="39"/>
                    </a:lnTo>
                    <a:lnTo>
                      <a:pt x="92" y="41"/>
                    </a:lnTo>
                    <a:close/>
                    <a:moveTo>
                      <a:pt x="100" y="26"/>
                    </a:moveTo>
                    <a:lnTo>
                      <a:pt x="101" y="28"/>
                    </a:lnTo>
                    <a:lnTo>
                      <a:pt x="102" y="27"/>
                    </a:lnTo>
                    <a:lnTo>
                      <a:pt x="102" y="26"/>
                    </a:lnTo>
                    <a:lnTo>
                      <a:pt x="103" y="26"/>
                    </a:lnTo>
                    <a:lnTo>
                      <a:pt x="104" y="26"/>
                    </a:lnTo>
                    <a:lnTo>
                      <a:pt x="106" y="26"/>
                    </a:lnTo>
                    <a:lnTo>
                      <a:pt x="106" y="27"/>
                    </a:lnTo>
                    <a:lnTo>
                      <a:pt x="107" y="28"/>
                    </a:lnTo>
                    <a:lnTo>
                      <a:pt x="107" y="29"/>
                    </a:lnTo>
                    <a:lnTo>
                      <a:pt x="107" y="30"/>
                    </a:lnTo>
                    <a:lnTo>
                      <a:pt x="104" y="33"/>
                    </a:lnTo>
                    <a:lnTo>
                      <a:pt x="104" y="34"/>
                    </a:lnTo>
                    <a:lnTo>
                      <a:pt x="104" y="35"/>
                    </a:lnTo>
                    <a:lnTo>
                      <a:pt x="106" y="35"/>
                    </a:lnTo>
                    <a:lnTo>
                      <a:pt x="107" y="35"/>
                    </a:lnTo>
                    <a:lnTo>
                      <a:pt x="107" y="34"/>
                    </a:lnTo>
                    <a:lnTo>
                      <a:pt x="110" y="30"/>
                    </a:lnTo>
                    <a:lnTo>
                      <a:pt x="111" y="30"/>
                    </a:lnTo>
                    <a:lnTo>
                      <a:pt x="113" y="30"/>
                    </a:lnTo>
                    <a:lnTo>
                      <a:pt x="111" y="33"/>
                    </a:lnTo>
                    <a:lnTo>
                      <a:pt x="111" y="34"/>
                    </a:lnTo>
                    <a:lnTo>
                      <a:pt x="113" y="34"/>
                    </a:lnTo>
                    <a:lnTo>
                      <a:pt x="114" y="36"/>
                    </a:lnTo>
                    <a:lnTo>
                      <a:pt x="115" y="37"/>
                    </a:lnTo>
                    <a:lnTo>
                      <a:pt x="116" y="34"/>
                    </a:lnTo>
                    <a:lnTo>
                      <a:pt x="121" y="33"/>
                    </a:lnTo>
                    <a:lnTo>
                      <a:pt x="125" y="32"/>
                    </a:lnTo>
                    <a:lnTo>
                      <a:pt x="128" y="29"/>
                    </a:lnTo>
                    <a:lnTo>
                      <a:pt x="129" y="28"/>
                    </a:lnTo>
                    <a:lnTo>
                      <a:pt x="131" y="28"/>
                    </a:lnTo>
                    <a:lnTo>
                      <a:pt x="134" y="28"/>
                    </a:lnTo>
                    <a:lnTo>
                      <a:pt x="135" y="29"/>
                    </a:lnTo>
                    <a:lnTo>
                      <a:pt x="137" y="30"/>
                    </a:lnTo>
                    <a:lnTo>
                      <a:pt x="138" y="34"/>
                    </a:lnTo>
                    <a:lnTo>
                      <a:pt x="138" y="35"/>
                    </a:lnTo>
                    <a:lnTo>
                      <a:pt x="139" y="34"/>
                    </a:lnTo>
                    <a:lnTo>
                      <a:pt x="140" y="28"/>
                    </a:lnTo>
                    <a:lnTo>
                      <a:pt x="142" y="27"/>
                    </a:lnTo>
                    <a:lnTo>
                      <a:pt x="143" y="27"/>
                    </a:lnTo>
                    <a:lnTo>
                      <a:pt x="144" y="26"/>
                    </a:lnTo>
                    <a:lnTo>
                      <a:pt x="146" y="23"/>
                    </a:lnTo>
                    <a:lnTo>
                      <a:pt x="147" y="22"/>
                    </a:lnTo>
                    <a:lnTo>
                      <a:pt x="149" y="25"/>
                    </a:lnTo>
                    <a:lnTo>
                      <a:pt x="149" y="26"/>
                    </a:lnTo>
                    <a:lnTo>
                      <a:pt x="149" y="27"/>
                    </a:lnTo>
                    <a:lnTo>
                      <a:pt x="150" y="29"/>
                    </a:lnTo>
                    <a:lnTo>
                      <a:pt x="153" y="33"/>
                    </a:lnTo>
                    <a:lnTo>
                      <a:pt x="153" y="34"/>
                    </a:lnTo>
                    <a:lnTo>
                      <a:pt x="153" y="33"/>
                    </a:lnTo>
                    <a:lnTo>
                      <a:pt x="153" y="32"/>
                    </a:lnTo>
                    <a:lnTo>
                      <a:pt x="152" y="29"/>
                    </a:lnTo>
                    <a:lnTo>
                      <a:pt x="152" y="28"/>
                    </a:lnTo>
                    <a:lnTo>
                      <a:pt x="152" y="27"/>
                    </a:lnTo>
                    <a:lnTo>
                      <a:pt x="152" y="26"/>
                    </a:lnTo>
                    <a:lnTo>
                      <a:pt x="151" y="26"/>
                    </a:lnTo>
                    <a:lnTo>
                      <a:pt x="151" y="25"/>
                    </a:lnTo>
                    <a:lnTo>
                      <a:pt x="152" y="22"/>
                    </a:lnTo>
                    <a:lnTo>
                      <a:pt x="152" y="21"/>
                    </a:lnTo>
                    <a:lnTo>
                      <a:pt x="153" y="20"/>
                    </a:lnTo>
                    <a:lnTo>
                      <a:pt x="154" y="19"/>
                    </a:lnTo>
                    <a:lnTo>
                      <a:pt x="157" y="18"/>
                    </a:lnTo>
                    <a:lnTo>
                      <a:pt x="158" y="19"/>
                    </a:lnTo>
                    <a:lnTo>
                      <a:pt x="159" y="20"/>
                    </a:lnTo>
                    <a:lnTo>
                      <a:pt x="159" y="22"/>
                    </a:lnTo>
                    <a:lnTo>
                      <a:pt x="158" y="23"/>
                    </a:lnTo>
                    <a:lnTo>
                      <a:pt x="158" y="25"/>
                    </a:lnTo>
                    <a:lnTo>
                      <a:pt x="159" y="25"/>
                    </a:lnTo>
                    <a:lnTo>
                      <a:pt x="160" y="25"/>
                    </a:lnTo>
                    <a:lnTo>
                      <a:pt x="160" y="23"/>
                    </a:lnTo>
                    <a:lnTo>
                      <a:pt x="160" y="22"/>
                    </a:lnTo>
                    <a:lnTo>
                      <a:pt x="161" y="22"/>
                    </a:lnTo>
                    <a:lnTo>
                      <a:pt x="163" y="22"/>
                    </a:lnTo>
                    <a:lnTo>
                      <a:pt x="164" y="23"/>
                    </a:lnTo>
                    <a:lnTo>
                      <a:pt x="165" y="22"/>
                    </a:lnTo>
                    <a:lnTo>
                      <a:pt x="166" y="22"/>
                    </a:lnTo>
                    <a:lnTo>
                      <a:pt x="167" y="22"/>
                    </a:lnTo>
                    <a:lnTo>
                      <a:pt x="168" y="22"/>
                    </a:lnTo>
                    <a:lnTo>
                      <a:pt x="168" y="23"/>
                    </a:lnTo>
                    <a:lnTo>
                      <a:pt x="170" y="25"/>
                    </a:lnTo>
                    <a:lnTo>
                      <a:pt x="168" y="27"/>
                    </a:lnTo>
                    <a:lnTo>
                      <a:pt x="171" y="27"/>
                    </a:lnTo>
                    <a:lnTo>
                      <a:pt x="171" y="28"/>
                    </a:lnTo>
                    <a:lnTo>
                      <a:pt x="171" y="30"/>
                    </a:lnTo>
                    <a:lnTo>
                      <a:pt x="172" y="33"/>
                    </a:lnTo>
                    <a:lnTo>
                      <a:pt x="174" y="32"/>
                    </a:lnTo>
                    <a:lnTo>
                      <a:pt x="175" y="32"/>
                    </a:lnTo>
                    <a:lnTo>
                      <a:pt x="175" y="33"/>
                    </a:lnTo>
                    <a:lnTo>
                      <a:pt x="177" y="33"/>
                    </a:lnTo>
                    <a:lnTo>
                      <a:pt x="177" y="34"/>
                    </a:lnTo>
                    <a:lnTo>
                      <a:pt x="177" y="37"/>
                    </a:lnTo>
                    <a:lnTo>
                      <a:pt x="177" y="39"/>
                    </a:lnTo>
                    <a:lnTo>
                      <a:pt x="175" y="40"/>
                    </a:lnTo>
                    <a:lnTo>
                      <a:pt x="173" y="39"/>
                    </a:lnTo>
                    <a:lnTo>
                      <a:pt x="173" y="40"/>
                    </a:lnTo>
                    <a:lnTo>
                      <a:pt x="172" y="41"/>
                    </a:lnTo>
                    <a:lnTo>
                      <a:pt x="171" y="43"/>
                    </a:lnTo>
                    <a:lnTo>
                      <a:pt x="171" y="46"/>
                    </a:lnTo>
                    <a:lnTo>
                      <a:pt x="172" y="48"/>
                    </a:lnTo>
                    <a:lnTo>
                      <a:pt x="172" y="47"/>
                    </a:lnTo>
                    <a:lnTo>
                      <a:pt x="172" y="49"/>
                    </a:lnTo>
                    <a:lnTo>
                      <a:pt x="171" y="49"/>
                    </a:lnTo>
                    <a:lnTo>
                      <a:pt x="170" y="49"/>
                    </a:lnTo>
                    <a:lnTo>
                      <a:pt x="168" y="49"/>
                    </a:lnTo>
                    <a:lnTo>
                      <a:pt x="168" y="48"/>
                    </a:lnTo>
                    <a:lnTo>
                      <a:pt x="166" y="48"/>
                    </a:lnTo>
                    <a:lnTo>
                      <a:pt x="166" y="47"/>
                    </a:lnTo>
                    <a:lnTo>
                      <a:pt x="165" y="48"/>
                    </a:lnTo>
                    <a:lnTo>
                      <a:pt x="161" y="55"/>
                    </a:lnTo>
                    <a:lnTo>
                      <a:pt x="159" y="56"/>
                    </a:lnTo>
                    <a:lnTo>
                      <a:pt x="159" y="58"/>
                    </a:lnTo>
                    <a:lnTo>
                      <a:pt x="158" y="58"/>
                    </a:lnTo>
                    <a:lnTo>
                      <a:pt x="157" y="58"/>
                    </a:lnTo>
                    <a:lnTo>
                      <a:pt x="154" y="60"/>
                    </a:lnTo>
                    <a:lnTo>
                      <a:pt x="153" y="61"/>
                    </a:lnTo>
                    <a:lnTo>
                      <a:pt x="153" y="62"/>
                    </a:lnTo>
                    <a:lnTo>
                      <a:pt x="152" y="62"/>
                    </a:lnTo>
                    <a:lnTo>
                      <a:pt x="145" y="67"/>
                    </a:lnTo>
                    <a:lnTo>
                      <a:pt x="136" y="74"/>
                    </a:lnTo>
                    <a:lnTo>
                      <a:pt x="135" y="75"/>
                    </a:lnTo>
                    <a:lnTo>
                      <a:pt x="134" y="74"/>
                    </a:lnTo>
                    <a:lnTo>
                      <a:pt x="132" y="72"/>
                    </a:lnTo>
                    <a:lnTo>
                      <a:pt x="130" y="70"/>
                    </a:lnTo>
                    <a:lnTo>
                      <a:pt x="128" y="69"/>
                    </a:lnTo>
                    <a:lnTo>
                      <a:pt x="123" y="68"/>
                    </a:lnTo>
                    <a:lnTo>
                      <a:pt x="120" y="65"/>
                    </a:lnTo>
                    <a:lnTo>
                      <a:pt x="118" y="65"/>
                    </a:lnTo>
                    <a:lnTo>
                      <a:pt x="116" y="64"/>
                    </a:lnTo>
                    <a:lnTo>
                      <a:pt x="115" y="64"/>
                    </a:lnTo>
                    <a:lnTo>
                      <a:pt x="114" y="63"/>
                    </a:lnTo>
                    <a:lnTo>
                      <a:pt x="114" y="62"/>
                    </a:lnTo>
                    <a:lnTo>
                      <a:pt x="113" y="62"/>
                    </a:lnTo>
                    <a:lnTo>
                      <a:pt x="109" y="58"/>
                    </a:lnTo>
                    <a:lnTo>
                      <a:pt x="107" y="57"/>
                    </a:lnTo>
                    <a:lnTo>
                      <a:pt x="106" y="57"/>
                    </a:lnTo>
                    <a:lnTo>
                      <a:pt x="106" y="56"/>
                    </a:lnTo>
                    <a:lnTo>
                      <a:pt x="104" y="55"/>
                    </a:lnTo>
                    <a:lnTo>
                      <a:pt x="103" y="55"/>
                    </a:lnTo>
                    <a:lnTo>
                      <a:pt x="101" y="55"/>
                    </a:lnTo>
                    <a:lnTo>
                      <a:pt x="100" y="54"/>
                    </a:lnTo>
                    <a:lnTo>
                      <a:pt x="100" y="53"/>
                    </a:lnTo>
                    <a:lnTo>
                      <a:pt x="99" y="48"/>
                    </a:lnTo>
                    <a:lnTo>
                      <a:pt x="99" y="46"/>
                    </a:lnTo>
                    <a:lnTo>
                      <a:pt x="97" y="46"/>
                    </a:lnTo>
                    <a:lnTo>
                      <a:pt x="95" y="43"/>
                    </a:lnTo>
                    <a:lnTo>
                      <a:pt x="95" y="42"/>
                    </a:lnTo>
                    <a:lnTo>
                      <a:pt x="93" y="34"/>
                    </a:lnTo>
                    <a:lnTo>
                      <a:pt x="93" y="32"/>
                    </a:lnTo>
                    <a:lnTo>
                      <a:pt x="92" y="32"/>
                    </a:lnTo>
                    <a:lnTo>
                      <a:pt x="92" y="30"/>
                    </a:lnTo>
                    <a:lnTo>
                      <a:pt x="92" y="29"/>
                    </a:lnTo>
                    <a:lnTo>
                      <a:pt x="93" y="28"/>
                    </a:lnTo>
                    <a:lnTo>
                      <a:pt x="90" y="26"/>
                    </a:lnTo>
                    <a:lnTo>
                      <a:pt x="90" y="25"/>
                    </a:lnTo>
                    <a:lnTo>
                      <a:pt x="89" y="23"/>
                    </a:lnTo>
                    <a:lnTo>
                      <a:pt x="89" y="21"/>
                    </a:lnTo>
                    <a:lnTo>
                      <a:pt x="90" y="20"/>
                    </a:lnTo>
                    <a:lnTo>
                      <a:pt x="90" y="18"/>
                    </a:lnTo>
                    <a:lnTo>
                      <a:pt x="92" y="16"/>
                    </a:lnTo>
                    <a:lnTo>
                      <a:pt x="95" y="21"/>
                    </a:lnTo>
                    <a:lnTo>
                      <a:pt x="100" y="26"/>
                    </a:lnTo>
                    <a:close/>
                    <a:moveTo>
                      <a:pt x="236" y="13"/>
                    </a:moveTo>
                    <a:lnTo>
                      <a:pt x="238" y="19"/>
                    </a:lnTo>
                    <a:lnTo>
                      <a:pt x="239" y="19"/>
                    </a:lnTo>
                    <a:lnTo>
                      <a:pt x="238" y="19"/>
                    </a:lnTo>
                    <a:lnTo>
                      <a:pt x="238" y="20"/>
                    </a:lnTo>
                    <a:lnTo>
                      <a:pt x="239" y="21"/>
                    </a:lnTo>
                    <a:lnTo>
                      <a:pt x="238" y="23"/>
                    </a:lnTo>
                    <a:lnTo>
                      <a:pt x="239" y="25"/>
                    </a:lnTo>
                    <a:lnTo>
                      <a:pt x="241" y="23"/>
                    </a:lnTo>
                    <a:lnTo>
                      <a:pt x="241" y="22"/>
                    </a:lnTo>
                    <a:lnTo>
                      <a:pt x="242" y="20"/>
                    </a:lnTo>
                    <a:lnTo>
                      <a:pt x="243" y="19"/>
                    </a:lnTo>
                    <a:lnTo>
                      <a:pt x="245" y="20"/>
                    </a:lnTo>
                    <a:lnTo>
                      <a:pt x="248" y="23"/>
                    </a:lnTo>
                    <a:lnTo>
                      <a:pt x="249" y="26"/>
                    </a:lnTo>
                    <a:lnTo>
                      <a:pt x="249" y="27"/>
                    </a:lnTo>
                    <a:lnTo>
                      <a:pt x="249" y="28"/>
                    </a:lnTo>
                    <a:lnTo>
                      <a:pt x="250" y="28"/>
                    </a:lnTo>
                    <a:lnTo>
                      <a:pt x="250" y="27"/>
                    </a:lnTo>
                    <a:lnTo>
                      <a:pt x="251" y="27"/>
                    </a:lnTo>
                    <a:lnTo>
                      <a:pt x="251" y="28"/>
                    </a:lnTo>
                    <a:lnTo>
                      <a:pt x="252" y="29"/>
                    </a:lnTo>
                    <a:lnTo>
                      <a:pt x="252" y="30"/>
                    </a:lnTo>
                    <a:lnTo>
                      <a:pt x="256" y="33"/>
                    </a:lnTo>
                    <a:lnTo>
                      <a:pt x="257" y="35"/>
                    </a:lnTo>
                    <a:lnTo>
                      <a:pt x="259" y="37"/>
                    </a:lnTo>
                    <a:lnTo>
                      <a:pt x="260" y="41"/>
                    </a:lnTo>
                    <a:lnTo>
                      <a:pt x="264" y="41"/>
                    </a:lnTo>
                    <a:lnTo>
                      <a:pt x="265" y="40"/>
                    </a:lnTo>
                    <a:lnTo>
                      <a:pt x="267" y="39"/>
                    </a:lnTo>
                    <a:lnTo>
                      <a:pt x="268" y="37"/>
                    </a:lnTo>
                    <a:lnTo>
                      <a:pt x="268" y="35"/>
                    </a:lnTo>
                    <a:lnTo>
                      <a:pt x="270" y="35"/>
                    </a:lnTo>
                    <a:lnTo>
                      <a:pt x="271" y="35"/>
                    </a:lnTo>
                    <a:lnTo>
                      <a:pt x="272" y="34"/>
                    </a:lnTo>
                    <a:lnTo>
                      <a:pt x="272" y="33"/>
                    </a:lnTo>
                    <a:lnTo>
                      <a:pt x="272" y="32"/>
                    </a:lnTo>
                    <a:lnTo>
                      <a:pt x="274" y="32"/>
                    </a:lnTo>
                    <a:lnTo>
                      <a:pt x="275" y="33"/>
                    </a:lnTo>
                    <a:lnTo>
                      <a:pt x="277" y="34"/>
                    </a:lnTo>
                    <a:lnTo>
                      <a:pt x="277" y="32"/>
                    </a:lnTo>
                    <a:lnTo>
                      <a:pt x="277" y="30"/>
                    </a:lnTo>
                    <a:lnTo>
                      <a:pt x="277" y="29"/>
                    </a:lnTo>
                    <a:lnTo>
                      <a:pt x="274" y="27"/>
                    </a:lnTo>
                    <a:lnTo>
                      <a:pt x="275" y="27"/>
                    </a:lnTo>
                    <a:lnTo>
                      <a:pt x="277" y="27"/>
                    </a:lnTo>
                    <a:lnTo>
                      <a:pt x="278" y="27"/>
                    </a:lnTo>
                    <a:lnTo>
                      <a:pt x="279" y="28"/>
                    </a:lnTo>
                    <a:lnTo>
                      <a:pt x="280" y="28"/>
                    </a:lnTo>
                    <a:lnTo>
                      <a:pt x="280" y="29"/>
                    </a:lnTo>
                    <a:lnTo>
                      <a:pt x="281" y="32"/>
                    </a:lnTo>
                    <a:lnTo>
                      <a:pt x="284" y="33"/>
                    </a:lnTo>
                    <a:lnTo>
                      <a:pt x="285" y="34"/>
                    </a:lnTo>
                    <a:lnTo>
                      <a:pt x="287" y="37"/>
                    </a:lnTo>
                    <a:lnTo>
                      <a:pt x="288" y="39"/>
                    </a:lnTo>
                    <a:lnTo>
                      <a:pt x="289" y="40"/>
                    </a:lnTo>
                    <a:lnTo>
                      <a:pt x="291" y="40"/>
                    </a:lnTo>
                    <a:lnTo>
                      <a:pt x="291" y="41"/>
                    </a:lnTo>
                    <a:lnTo>
                      <a:pt x="289" y="43"/>
                    </a:lnTo>
                    <a:lnTo>
                      <a:pt x="291" y="44"/>
                    </a:lnTo>
                    <a:lnTo>
                      <a:pt x="292" y="47"/>
                    </a:lnTo>
                    <a:lnTo>
                      <a:pt x="295" y="53"/>
                    </a:lnTo>
                    <a:lnTo>
                      <a:pt x="295" y="54"/>
                    </a:lnTo>
                    <a:lnTo>
                      <a:pt x="296" y="55"/>
                    </a:lnTo>
                    <a:lnTo>
                      <a:pt x="299" y="56"/>
                    </a:lnTo>
                    <a:lnTo>
                      <a:pt x="300" y="56"/>
                    </a:lnTo>
                    <a:lnTo>
                      <a:pt x="303" y="56"/>
                    </a:lnTo>
                    <a:lnTo>
                      <a:pt x="306" y="56"/>
                    </a:lnTo>
                    <a:lnTo>
                      <a:pt x="306" y="54"/>
                    </a:lnTo>
                    <a:lnTo>
                      <a:pt x="307" y="54"/>
                    </a:lnTo>
                    <a:lnTo>
                      <a:pt x="309" y="54"/>
                    </a:lnTo>
                    <a:lnTo>
                      <a:pt x="310" y="54"/>
                    </a:lnTo>
                    <a:lnTo>
                      <a:pt x="312" y="54"/>
                    </a:lnTo>
                    <a:lnTo>
                      <a:pt x="312" y="55"/>
                    </a:lnTo>
                    <a:lnTo>
                      <a:pt x="310" y="55"/>
                    </a:lnTo>
                    <a:lnTo>
                      <a:pt x="309" y="56"/>
                    </a:lnTo>
                    <a:lnTo>
                      <a:pt x="308" y="57"/>
                    </a:lnTo>
                    <a:lnTo>
                      <a:pt x="308" y="58"/>
                    </a:lnTo>
                    <a:lnTo>
                      <a:pt x="310" y="60"/>
                    </a:lnTo>
                    <a:lnTo>
                      <a:pt x="312" y="60"/>
                    </a:lnTo>
                    <a:lnTo>
                      <a:pt x="312" y="58"/>
                    </a:lnTo>
                    <a:lnTo>
                      <a:pt x="313" y="58"/>
                    </a:lnTo>
                    <a:lnTo>
                      <a:pt x="313" y="57"/>
                    </a:lnTo>
                    <a:lnTo>
                      <a:pt x="314" y="56"/>
                    </a:lnTo>
                    <a:lnTo>
                      <a:pt x="315" y="56"/>
                    </a:lnTo>
                    <a:lnTo>
                      <a:pt x="316" y="57"/>
                    </a:lnTo>
                    <a:lnTo>
                      <a:pt x="315" y="58"/>
                    </a:lnTo>
                    <a:lnTo>
                      <a:pt x="314" y="58"/>
                    </a:lnTo>
                    <a:lnTo>
                      <a:pt x="315" y="60"/>
                    </a:lnTo>
                    <a:lnTo>
                      <a:pt x="316" y="60"/>
                    </a:lnTo>
                    <a:lnTo>
                      <a:pt x="317" y="60"/>
                    </a:lnTo>
                    <a:lnTo>
                      <a:pt x="319" y="61"/>
                    </a:lnTo>
                    <a:lnTo>
                      <a:pt x="320" y="61"/>
                    </a:lnTo>
                    <a:lnTo>
                      <a:pt x="321" y="61"/>
                    </a:lnTo>
                    <a:lnTo>
                      <a:pt x="321" y="60"/>
                    </a:lnTo>
                    <a:lnTo>
                      <a:pt x="322" y="60"/>
                    </a:lnTo>
                    <a:lnTo>
                      <a:pt x="323" y="58"/>
                    </a:lnTo>
                    <a:lnTo>
                      <a:pt x="324" y="58"/>
                    </a:lnTo>
                    <a:lnTo>
                      <a:pt x="324" y="60"/>
                    </a:lnTo>
                    <a:lnTo>
                      <a:pt x="324" y="62"/>
                    </a:lnTo>
                    <a:lnTo>
                      <a:pt x="324" y="64"/>
                    </a:lnTo>
                    <a:lnTo>
                      <a:pt x="323" y="67"/>
                    </a:lnTo>
                    <a:lnTo>
                      <a:pt x="324" y="67"/>
                    </a:lnTo>
                    <a:lnTo>
                      <a:pt x="324" y="65"/>
                    </a:lnTo>
                    <a:lnTo>
                      <a:pt x="326" y="63"/>
                    </a:lnTo>
                    <a:lnTo>
                      <a:pt x="328" y="62"/>
                    </a:lnTo>
                    <a:lnTo>
                      <a:pt x="329" y="62"/>
                    </a:lnTo>
                    <a:lnTo>
                      <a:pt x="329" y="63"/>
                    </a:lnTo>
                    <a:lnTo>
                      <a:pt x="330" y="64"/>
                    </a:lnTo>
                    <a:lnTo>
                      <a:pt x="331" y="63"/>
                    </a:lnTo>
                    <a:lnTo>
                      <a:pt x="332" y="63"/>
                    </a:lnTo>
                    <a:lnTo>
                      <a:pt x="334" y="63"/>
                    </a:lnTo>
                    <a:lnTo>
                      <a:pt x="334" y="62"/>
                    </a:lnTo>
                    <a:lnTo>
                      <a:pt x="335" y="60"/>
                    </a:lnTo>
                    <a:lnTo>
                      <a:pt x="336" y="60"/>
                    </a:lnTo>
                    <a:lnTo>
                      <a:pt x="337" y="60"/>
                    </a:lnTo>
                    <a:lnTo>
                      <a:pt x="338" y="60"/>
                    </a:lnTo>
                    <a:lnTo>
                      <a:pt x="339" y="60"/>
                    </a:lnTo>
                    <a:lnTo>
                      <a:pt x="341" y="58"/>
                    </a:lnTo>
                    <a:lnTo>
                      <a:pt x="344" y="55"/>
                    </a:lnTo>
                    <a:lnTo>
                      <a:pt x="345" y="55"/>
                    </a:lnTo>
                    <a:lnTo>
                      <a:pt x="346" y="56"/>
                    </a:lnTo>
                    <a:lnTo>
                      <a:pt x="348" y="56"/>
                    </a:lnTo>
                    <a:lnTo>
                      <a:pt x="349" y="57"/>
                    </a:lnTo>
                    <a:lnTo>
                      <a:pt x="350" y="57"/>
                    </a:lnTo>
                    <a:lnTo>
                      <a:pt x="351" y="57"/>
                    </a:lnTo>
                    <a:lnTo>
                      <a:pt x="352" y="56"/>
                    </a:lnTo>
                    <a:lnTo>
                      <a:pt x="353" y="57"/>
                    </a:lnTo>
                    <a:lnTo>
                      <a:pt x="353" y="58"/>
                    </a:lnTo>
                    <a:lnTo>
                      <a:pt x="352" y="60"/>
                    </a:lnTo>
                    <a:lnTo>
                      <a:pt x="351" y="60"/>
                    </a:lnTo>
                    <a:lnTo>
                      <a:pt x="351" y="61"/>
                    </a:lnTo>
                    <a:lnTo>
                      <a:pt x="351" y="62"/>
                    </a:lnTo>
                    <a:lnTo>
                      <a:pt x="349" y="61"/>
                    </a:lnTo>
                    <a:lnTo>
                      <a:pt x="346" y="62"/>
                    </a:lnTo>
                    <a:lnTo>
                      <a:pt x="346" y="64"/>
                    </a:lnTo>
                    <a:lnTo>
                      <a:pt x="346" y="65"/>
                    </a:lnTo>
                    <a:lnTo>
                      <a:pt x="350" y="68"/>
                    </a:lnTo>
                    <a:lnTo>
                      <a:pt x="355" y="70"/>
                    </a:lnTo>
                    <a:lnTo>
                      <a:pt x="357" y="69"/>
                    </a:lnTo>
                    <a:lnTo>
                      <a:pt x="359" y="68"/>
                    </a:lnTo>
                    <a:lnTo>
                      <a:pt x="359" y="67"/>
                    </a:lnTo>
                    <a:lnTo>
                      <a:pt x="359" y="65"/>
                    </a:lnTo>
                    <a:lnTo>
                      <a:pt x="360" y="65"/>
                    </a:lnTo>
                    <a:lnTo>
                      <a:pt x="362" y="64"/>
                    </a:lnTo>
                    <a:lnTo>
                      <a:pt x="363" y="65"/>
                    </a:lnTo>
                    <a:lnTo>
                      <a:pt x="364" y="65"/>
                    </a:lnTo>
                    <a:lnTo>
                      <a:pt x="364" y="67"/>
                    </a:lnTo>
                    <a:lnTo>
                      <a:pt x="364" y="68"/>
                    </a:lnTo>
                    <a:lnTo>
                      <a:pt x="365" y="68"/>
                    </a:lnTo>
                    <a:lnTo>
                      <a:pt x="365" y="69"/>
                    </a:lnTo>
                    <a:lnTo>
                      <a:pt x="364" y="70"/>
                    </a:lnTo>
                    <a:lnTo>
                      <a:pt x="365" y="71"/>
                    </a:lnTo>
                    <a:lnTo>
                      <a:pt x="369" y="68"/>
                    </a:lnTo>
                    <a:lnTo>
                      <a:pt x="370" y="71"/>
                    </a:lnTo>
                    <a:lnTo>
                      <a:pt x="371" y="72"/>
                    </a:lnTo>
                    <a:lnTo>
                      <a:pt x="372" y="72"/>
                    </a:lnTo>
                    <a:lnTo>
                      <a:pt x="373" y="72"/>
                    </a:lnTo>
                    <a:lnTo>
                      <a:pt x="373" y="74"/>
                    </a:lnTo>
                    <a:lnTo>
                      <a:pt x="372" y="74"/>
                    </a:lnTo>
                    <a:lnTo>
                      <a:pt x="371" y="74"/>
                    </a:lnTo>
                    <a:lnTo>
                      <a:pt x="371" y="75"/>
                    </a:lnTo>
                    <a:lnTo>
                      <a:pt x="371" y="76"/>
                    </a:lnTo>
                    <a:lnTo>
                      <a:pt x="372" y="76"/>
                    </a:lnTo>
                    <a:lnTo>
                      <a:pt x="372" y="77"/>
                    </a:lnTo>
                    <a:lnTo>
                      <a:pt x="372" y="78"/>
                    </a:lnTo>
                    <a:lnTo>
                      <a:pt x="372" y="79"/>
                    </a:lnTo>
                    <a:lnTo>
                      <a:pt x="372" y="81"/>
                    </a:lnTo>
                    <a:lnTo>
                      <a:pt x="372" y="82"/>
                    </a:lnTo>
                    <a:lnTo>
                      <a:pt x="372" y="83"/>
                    </a:lnTo>
                    <a:lnTo>
                      <a:pt x="373" y="83"/>
                    </a:lnTo>
                    <a:lnTo>
                      <a:pt x="374" y="81"/>
                    </a:lnTo>
                    <a:lnTo>
                      <a:pt x="377" y="78"/>
                    </a:lnTo>
                    <a:lnTo>
                      <a:pt x="378" y="77"/>
                    </a:lnTo>
                    <a:lnTo>
                      <a:pt x="378" y="76"/>
                    </a:lnTo>
                    <a:lnTo>
                      <a:pt x="378" y="75"/>
                    </a:lnTo>
                    <a:lnTo>
                      <a:pt x="379" y="75"/>
                    </a:lnTo>
                    <a:lnTo>
                      <a:pt x="384" y="78"/>
                    </a:lnTo>
                    <a:lnTo>
                      <a:pt x="386" y="79"/>
                    </a:lnTo>
                    <a:lnTo>
                      <a:pt x="390" y="81"/>
                    </a:lnTo>
                    <a:lnTo>
                      <a:pt x="396" y="82"/>
                    </a:lnTo>
                    <a:lnTo>
                      <a:pt x="400" y="81"/>
                    </a:lnTo>
                    <a:lnTo>
                      <a:pt x="401" y="81"/>
                    </a:lnTo>
                    <a:lnTo>
                      <a:pt x="402" y="82"/>
                    </a:lnTo>
                    <a:lnTo>
                      <a:pt x="402" y="81"/>
                    </a:lnTo>
                    <a:lnTo>
                      <a:pt x="405" y="79"/>
                    </a:lnTo>
                    <a:lnTo>
                      <a:pt x="409" y="75"/>
                    </a:lnTo>
                    <a:lnTo>
                      <a:pt x="410" y="74"/>
                    </a:lnTo>
                    <a:lnTo>
                      <a:pt x="412" y="74"/>
                    </a:lnTo>
                    <a:lnTo>
                      <a:pt x="413" y="72"/>
                    </a:lnTo>
                    <a:lnTo>
                      <a:pt x="415" y="72"/>
                    </a:lnTo>
                    <a:lnTo>
                      <a:pt x="415" y="74"/>
                    </a:lnTo>
                    <a:lnTo>
                      <a:pt x="415" y="76"/>
                    </a:lnTo>
                    <a:lnTo>
                      <a:pt x="415" y="77"/>
                    </a:lnTo>
                    <a:lnTo>
                      <a:pt x="416" y="78"/>
                    </a:lnTo>
                    <a:lnTo>
                      <a:pt x="417" y="79"/>
                    </a:lnTo>
                    <a:lnTo>
                      <a:pt x="417" y="81"/>
                    </a:lnTo>
                    <a:lnTo>
                      <a:pt x="419" y="81"/>
                    </a:lnTo>
                    <a:lnTo>
                      <a:pt x="419" y="79"/>
                    </a:lnTo>
                    <a:lnTo>
                      <a:pt x="420" y="79"/>
                    </a:lnTo>
                    <a:lnTo>
                      <a:pt x="420" y="81"/>
                    </a:lnTo>
                    <a:lnTo>
                      <a:pt x="421" y="84"/>
                    </a:lnTo>
                    <a:lnTo>
                      <a:pt x="421" y="85"/>
                    </a:lnTo>
                    <a:lnTo>
                      <a:pt x="422" y="86"/>
                    </a:lnTo>
                    <a:lnTo>
                      <a:pt x="423" y="86"/>
                    </a:lnTo>
                    <a:lnTo>
                      <a:pt x="427" y="88"/>
                    </a:lnTo>
                    <a:lnTo>
                      <a:pt x="428" y="88"/>
                    </a:lnTo>
                    <a:lnTo>
                      <a:pt x="429" y="88"/>
                    </a:lnTo>
                    <a:lnTo>
                      <a:pt x="429" y="89"/>
                    </a:lnTo>
                    <a:lnTo>
                      <a:pt x="430" y="89"/>
                    </a:lnTo>
                    <a:lnTo>
                      <a:pt x="431" y="91"/>
                    </a:lnTo>
                    <a:lnTo>
                      <a:pt x="431" y="92"/>
                    </a:lnTo>
                    <a:lnTo>
                      <a:pt x="433" y="92"/>
                    </a:lnTo>
                    <a:lnTo>
                      <a:pt x="435" y="93"/>
                    </a:lnTo>
                    <a:lnTo>
                      <a:pt x="435" y="95"/>
                    </a:lnTo>
                    <a:lnTo>
                      <a:pt x="437" y="97"/>
                    </a:lnTo>
                    <a:lnTo>
                      <a:pt x="438" y="97"/>
                    </a:lnTo>
                    <a:lnTo>
                      <a:pt x="440" y="96"/>
                    </a:lnTo>
                    <a:lnTo>
                      <a:pt x="442" y="96"/>
                    </a:lnTo>
                    <a:lnTo>
                      <a:pt x="443" y="96"/>
                    </a:lnTo>
                    <a:lnTo>
                      <a:pt x="444" y="97"/>
                    </a:lnTo>
                    <a:lnTo>
                      <a:pt x="445" y="98"/>
                    </a:lnTo>
                    <a:lnTo>
                      <a:pt x="447" y="99"/>
                    </a:lnTo>
                    <a:lnTo>
                      <a:pt x="448" y="99"/>
                    </a:lnTo>
                    <a:lnTo>
                      <a:pt x="449" y="99"/>
                    </a:lnTo>
                    <a:lnTo>
                      <a:pt x="449" y="98"/>
                    </a:lnTo>
                    <a:lnTo>
                      <a:pt x="445" y="96"/>
                    </a:lnTo>
                    <a:lnTo>
                      <a:pt x="444" y="95"/>
                    </a:lnTo>
                    <a:lnTo>
                      <a:pt x="447" y="95"/>
                    </a:lnTo>
                    <a:lnTo>
                      <a:pt x="449" y="95"/>
                    </a:lnTo>
                    <a:lnTo>
                      <a:pt x="451" y="93"/>
                    </a:lnTo>
                    <a:lnTo>
                      <a:pt x="451" y="95"/>
                    </a:lnTo>
                    <a:lnTo>
                      <a:pt x="452" y="96"/>
                    </a:lnTo>
                    <a:lnTo>
                      <a:pt x="454" y="97"/>
                    </a:lnTo>
                    <a:lnTo>
                      <a:pt x="456" y="96"/>
                    </a:lnTo>
                    <a:lnTo>
                      <a:pt x="457" y="96"/>
                    </a:lnTo>
                    <a:lnTo>
                      <a:pt x="457" y="95"/>
                    </a:lnTo>
                    <a:lnTo>
                      <a:pt x="456" y="95"/>
                    </a:lnTo>
                    <a:lnTo>
                      <a:pt x="454" y="95"/>
                    </a:lnTo>
                    <a:lnTo>
                      <a:pt x="454" y="93"/>
                    </a:lnTo>
                    <a:lnTo>
                      <a:pt x="451" y="92"/>
                    </a:lnTo>
                    <a:lnTo>
                      <a:pt x="449" y="92"/>
                    </a:lnTo>
                    <a:lnTo>
                      <a:pt x="448" y="91"/>
                    </a:lnTo>
                    <a:lnTo>
                      <a:pt x="449" y="91"/>
                    </a:lnTo>
                    <a:lnTo>
                      <a:pt x="451" y="91"/>
                    </a:lnTo>
                    <a:lnTo>
                      <a:pt x="455" y="89"/>
                    </a:lnTo>
                    <a:lnTo>
                      <a:pt x="456" y="88"/>
                    </a:lnTo>
                    <a:lnTo>
                      <a:pt x="455" y="88"/>
                    </a:lnTo>
                    <a:lnTo>
                      <a:pt x="454" y="86"/>
                    </a:lnTo>
                    <a:lnTo>
                      <a:pt x="456" y="85"/>
                    </a:lnTo>
                    <a:lnTo>
                      <a:pt x="457" y="85"/>
                    </a:lnTo>
                    <a:lnTo>
                      <a:pt x="458" y="84"/>
                    </a:lnTo>
                    <a:lnTo>
                      <a:pt x="460" y="84"/>
                    </a:lnTo>
                    <a:lnTo>
                      <a:pt x="463" y="84"/>
                    </a:lnTo>
                    <a:lnTo>
                      <a:pt x="462" y="85"/>
                    </a:lnTo>
                    <a:lnTo>
                      <a:pt x="463" y="86"/>
                    </a:lnTo>
                    <a:lnTo>
                      <a:pt x="465" y="85"/>
                    </a:lnTo>
                    <a:lnTo>
                      <a:pt x="467" y="85"/>
                    </a:lnTo>
                    <a:lnTo>
                      <a:pt x="469" y="85"/>
                    </a:lnTo>
                    <a:lnTo>
                      <a:pt x="470" y="83"/>
                    </a:lnTo>
                    <a:lnTo>
                      <a:pt x="470" y="82"/>
                    </a:lnTo>
                    <a:lnTo>
                      <a:pt x="471" y="82"/>
                    </a:lnTo>
                    <a:lnTo>
                      <a:pt x="471" y="83"/>
                    </a:lnTo>
                    <a:lnTo>
                      <a:pt x="473" y="85"/>
                    </a:lnTo>
                    <a:lnTo>
                      <a:pt x="474" y="85"/>
                    </a:lnTo>
                    <a:lnTo>
                      <a:pt x="478" y="83"/>
                    </a:lnTo>
                    <a:lnTo>
                      <a:pt x="478" y="82"/>
                    </a:lnTo>
                    <a:lnTo>
                      <a:pt x="479" y="82"/>
                    </a:lnTo>
                    <a:lnTo>
                      <a:pt x="480" y="82"/>
                    </a:lnTo>
                    <a:lnTo>
                      <a:pt x="484" y="79"/>
                    </a:lnTo>
                    <a:lnTo>
                      <a:pt x="484" y="78"/>
                    </a:lnTo>
                    <a:lnTo>
                      <a:pt x="480" y="79"/>
                    </a:lnTo>
                    <a:lnTo>
                      <a:pt x="478" y="79"/>
                    </a:lnTo>
                    <a:lnTo>
                      <a:pt x="476" y="82"/>
                    </a:lnTo>
                    <a:lnTo>
                      <a:pt x="474" y="82"/>
                    </a:lnTo>
                    <a:lnTo>
                      <a:pt x="473" y="81"/>
                    </a:lnTo>
                    <a:lnTo>
                      <a:pt x="473" y="79"/>
                    </a:lnTo>
                    <a:lnTo>
                      <a:pt x="473" y="77"/>
                    </a:lnTo>
                    <a:lnTo>
                      <a:pt x="476" y="75"/>
                    </a:lnTo>
                    <a:lnTo>
                      <a:pt x="478" y="74"/>
                    </a:lnTo>
                    <a:lnTo>
                      <a:pt x="478" y="75"/>
                    </a:lnTo>
                    <a:lnTo>
                      <a:pt x="479" y="75"/>
                    </a:lnTo>
                    <a:lnTo>
                      <a:pt x="480" y="75"/>
                    </a:lnTo>
                    <a:lnTo>
                      <a:pt x="480" y="74"/>
                    </a:lnTo>
                    <a:lnTo>
                      <a:pt x="481" y="74"/>
                    </a:lnTo>
                    <a:lnTo>
                      <a:pt x="483" y="72"/>
                    </a:lnTo>
                    <a:lnTo>
                      <a:pt x="484" y="72"/>
                    </a:lnTo>
                    <a:lnTo>
                      <a:pt x="485" y="72"/>
                    </a:lnTo>
                    <a:lnTo>
                      <a:pt x="486" y="74"/>
                    </a:lnTo>
                    <a:lnTo>
                      <a:pt x="488" y="71"/>
                    </a:lnTo>
                    <a:lnTo>
                      <a:pt x="492" y="69"/>
                    </a:lnTo>
                    <a:lnTo>
                      <a:pt x="493" y="68"/>
                    </a:lnTo>
                    <a:lnTo>
                      <a:pt x="494" y="68"/>
                    </a:lnTo>
                    <a:lnTo>
                      <a:pt x="494" y="67"/>
                    </a:lnTo>
                    <a:lnTo>
                      <a:pt x="495" y="67"/>
                    </a:lnTo>
                    <a:lnTo>
                      <a:pt x="497" y="67"/>
                    </a:lnTo>
                    <a:lnTo>
                      <a:pt x="498" y="64"/>
                    </a:lnTo>
                    <a:lnTo>
                      <a:pt x="497" y="63"/>
                    </a:lnTo>
                    <a:lnTo>
                      <a:pt x="497" y="62"/>
                    </a:lnTo>
                    <a:lnTo>
                      <a:pt x="495" y="61"/>
                    </a:lnTo>
                    <a:lnTo>
                      <a:pt x="497" y="60"/>
                    </a:lnTo>
                    <a:lnTo>
                      <a:pt x="498" y="60"/>
                    </a:lnTo>
                    <a:lnTo>
                      <a:pt x="500" y="61"/>
                    </a:lnTo>
                    <a:lnTo>
                      <a:pt x="501" y="61"/>
                    </a:lnTo>
                    <a:lnTo>
                      <a:pt x="500" y="64"/>
                    </a:lnTo>
                    <a:lnTo>
                      <a:pt x="499" y="67"/>
                    </a:lnTo>
                    <a:lnTo>
                      <a:pt x="494" y="71"/>
                    </a:lnTo>
                    <a:lnTo>
                      <a:pt x="492" y="74"/>
                    </a:lnTo>
                    <a:lnTo>
                      <a:pt x="491" y="75"/>
                    </a:lnTo>
                    <a:lnTo>
                      <a:pt x="487" y="75"/>
                    </a:lnTo>
                    <a:lnTo>
                      <a:pt x="487" y="76"/>
                    </a:lnTo>
                    <a:lnTo>
                      <a:pt x="485" y="78"/>
                    </a:lnTo>
                    <a:lnTo>
                      <a:pt x="488" y="77"/>
                    </a:lnTo>
                    <a:lnTo>
                      <a:pt x="490" y="77"/>
                    </a:lnTo>
                    <a:lnTo>
                      <a:pt x="494" y="76"/>
                    </a:lnTo>
                    <a:lnTo>
                      <a:pt x="495" y="76"/>
                    </a:lnTo>
                    <a:lnTo>
                      <a:pt x="498" y="75"/>
                    </a:lnTo>
                    <a:lnTo>
                      <a:pt x="499" y="75"/>
                    </a:lnTo>
                    <a:lnTo>
                      <a:pt x="499" y="76"/>
                    </a:lnTo>
                    <a:lnTo>
                      <a:pt x="498" y="76"/>
                    </a:lnTo>
                    <a:lnTo>
                      <a:pt x="494" y="77"/>
                    </a:lnTo>
                    <a:lnTo>
                      <a:pt x="493" y="78"/>
                    </a:lnTo>
                    <a:lnTo>
                      <a:pt x="490" y="81"/>
                    </a:lnTo>
                    <a:lnTo>
                      <a:pt x="488" y="83"/>
                    </a:lnTo>
                    <a:lnTo>
                      <a:pt x="485" y="85"/>
                    </a:lnTo>
                    <a:lnTo>
                      <a:pt x="483" y="88"/>
                    </a:lnTo>
                    <a:lnTo>
                      <a:pt x="480" y="89"/>
                    </a:lnTo>
                    <a:lnTo>
                      <a:pt x="479" y="90"/>
                    </a:lnTo>
                    <a:lnTo>
                      <a:pt x="479" y="92"/>
                    </a:lnTo>
                    <a:lnTo>
                      <a:pt x="480" y="96"/>
                    </a:lnTo>
                    <a:lnTo>
                      <a:pt x="483" y="96"/>
                    </a:lnTo>
                    <a:lnTo>
                      <a:pt x="484" y="97"/>
                    </a:lnTo>
                    <a:lnTo>
                      <a:pt x="484" y="98"/>
                    </a:lnTo>
                    <a:lnTo>
                      <a:pt x="485" y="100"/>
                    </a:lnTo>
                    <a:lnTo>
                      <a:pt x="487" y="98"/>
                    </a:lnTo>
                    <a:lnTo>
                      <a:pt x="487" y="97"/>
                    </a:lnTo>
                    <a:lnTo>
                      <a:pt x="488" y="97"/>
                    </a:lnTo>
                    <a:lnTo>
                      <a:pt x="490" y="97"/>
                    </a:lnTo>
                    <a:lnTo>
                      <a:pt x="490" y="96"/>
                    </a:lnTo>
                    <a:lnTo>
                      <a:pt x="491" y="93"/>
                    </a:lnTo>
                    <a:lnTo>
                      <a:pt x="494" y="92"/>
                    </a:lnTo>
                    <a:lnTo>
                      <a:pt x="497" y="89"/>
                    </a:lnTo>
                    <a:lnTo>
                      <a:pt x="498" y="89"/>
                    </a:lnTo>
                    <a:lnTo>
                      <a:pt x="498" y="90"/>
                    </a:lnTo>
                    <a:lnTo>
                      <a:pt x="499" y="90"/>
                    </a:lnTo>
                    <a:lnTo>
                      <a:pt x="499" y="91"/>
                    </a:lnTo>
                    <a:lnTo>
                      <a:pt x="500" y="90"/>
                    </a:lnTo>
                    <a:lnTo>
                      <a:pt x="500" y="89"/>
                    </a:lnTo>
                    <a:lnTo>
                      <a:pt x="501" y="89"/>
                    </a:lnTo>
                    <a:lnTo>
                      <a:pt x="502" y="89"/>
                    </a:lnTo>
                    <a:lnTo>
                      <a:pt x="507" y="84"/>
                    </a:lnTo>
                    <a:lnTo>
                      <a:pt x="509" y="83"/>
                    </a:lnTo>
                    <a:lnTo>
                      <a:pt x="509" y="84"/>
                    </a:lnTo>
                    <a:lnTo>
                      <a:pt x="508" y="85"/>
                    </a:lnTo>
                    <a:lnTo>
                      <a:pt x="507" y="86"/>
                    </a:lnTo>
                    <a:lnTo>
                      <a:pt x="506" y="88"/>
                    </a:lnTo>
                    <a:lnTo>
                      <a:pt x="505" y="89"/>
                    </a:lnTo>
                    <a:lnTo>
                      <a:pt x="505" y="90"/>
                    </a:lnTo>
                    <a:lnTo>
                      <a:pt x="504" y="90"/>
                    </a:lnTo>
                    <a:lnTo>
                      <a:pt x="501" y="91"/>
                    </a:lnTo>
                    <a:lnTo>
                      <a:pt x="501" y="92"/>
                    </a:lnTo>
                    <a:lnTo>
                      <a:pt x="500" y="93"/>
                    </a:lnTo>
                    <a:lnTo>
                      <a:pt x="501" y="95"/>
                    </a:lnTo>
                    <a:lnTo>
                      <a:pt x="501" y="96"/>
                    </a:lnTo>
                    <a:lnTo>
                      <a:pt x="502" y="97"/>
                    </a:lnTo>
                    <a:lnTo>
                      <a:pt x="504" y="98"/>
                    </a:lnTo>
                    <a:lnTo>
                      <a:pt x="505" y="97"/>
                    </a:lnTo>
                    <a:lnTo>
                      <a:pt x="506" y="97"/>
                    </a:lnTo>
                    <a:lnTo>
                      <a:pt x="507" y="96"/>
                    </a:lnTo>
                    <a:lnTo>
                      <a:pt x="508" y="96"/>
                    </a:lnTo>
                    <a:lnTo>
                      <a:pt x="509" y="96"/>
                    </a:lnTo>
                    <a:lnTo>
                      <a:pt x="509" y="97"/>
                    </a:lnTo>
                    <a:lnTo>
                      <a:pt x="509" y="98"/>
                    </a:lnTo>
                    <a:lnTo>
                      <a:pt x="508" y="98"/>
                    </a:lnTo>
                    <a:lnTo>
                      <a:pt x="508" y="99"/>
                    </a:lnTo>
                    <a:lnTo>
                      <a:pt x="507" y="102"/>
                    </a:lnTo>
                    <a:lnTo>
                      <a:pt x="505" y="104"/>
                    </a:lnTo>
                    <a:lnTo>
                      <a:pt x="504" y="105"/>
                    </a:lnTo>
                    <a:lnTo>
                      <a:pt x="504" y="106"/>
                    </a:lnTo>
                    <a:lnTo>
                      <a:pt x="505" y="107"/>
                    </a:lnTo>
                    <a:lnTo>
                      <a:pt x="506" y="106"/>
                    </a:lnTo>
                    <a:lnTo>
                      <a:pt x="506" y="107"/>
                    </a:lnTo>
                    <a:lnTo>
                      <a:pt x="506" y="109"/>
                    </a:lnTo>
                    <a:lnTo>
                      <a:pt x="506" y="111"/>
                    </a:lnTo>
                    <a:lnTo>
                      <a:pt x="507" y="112"/>
                    </a:lnTo>
                    <a:lnTo>
                      <a:pt x="507" y="113"/>
                    </a:lnTo>
                    <a:lnTo>
                      <a:pt x="508" y="112"/>
                    </a:lnTo>
                    <a:lnTo>
                      <a:pt x="508" y="111"/>
                    </a:lnTo>
                    <a:lnTo>
                      <a:pt x="509" y="111"/>
                    </a:lnTo>
                    <a:lnTo>
                      <a:pt x="509" y="110"/>
                    </a:lnTo>
                    <a:lnTo>
                      <a:pt x="511" y="110"/>
                    </a:lnTo>
                    <a:lnTo>
                      <a:pt x="511" y="111"/>
                    </a:lnTo>
                    <a:lnTo>
                      <a:pt x="512" y="111"/>
                    </a:lnTo>
                    <a:lnTo>
                      <a:pt x="515" y="111"/>
                    </a:lnTo>
                    <a:lnTo>
                      <a:pt x="516" y="111"/>
                    </a:lnTo>
                    <a:lnTo>
                      <a:pt x="518" y="112"/>
                    </a:lnTo>
                    <a:lnTo>
                      <a:pt x="519" y="112"/>
                    </a:lnTo>
                    <a:lnTo>
                      <a:pt x="521" y="112"/>
                    </a:lnTo>
                    <a:lnTo>
                      <a:pt x="523" y="111"/>
                    </a:lnTo>
                    <a:lnTo>
                      <a:pt x="526" y="110"/>
                    </a:lnTo>
                    <a:lnTo>
                      <a:pt x="527" y="107"/>
                    </a:lnTo>
                    <a:lnTo>
                      <a:pt x="529" y="102"/>
                    </a:lnTo>
                    <a:lnTo>
                      <a:pt x="531" y="97"/>
                    </a:lnTo>
                    <a:lnTo>
                      <a:pt x="531" y="96"/>
                    </a:lnTo>
                    <a:lnTo>
                      <a:pt x="531" y="95"/>
                    </a:lnTo>
                    <a:lnTo>
                      <a:pt x="530" y="95"/>
                    </a:lnTo>
                    <a:lnTo>
                      <a:pt x="529" y="93"/>
                    </a:lnTo>
                    <a:lnTo>
                      <a:pt x="528" y="93"/>
                    </a:lnTo>
                    <a:lnTo>
                      <a:pt x="527" y="93"/>
                    </a:lnTo>
                    <a:lnTo>
                      <a:pt x="526" y="93"/>
                    </a:lnTo>
                    <a:lnTo>
                      <a:pt x="524" y="93"/>
                    </a:lnTo>
                    <a:lnTo>
                      <a:pt x="522" y="93"/>
                    </a:lnTo>
                    <a:lnTo>
                      <a:pt x="522" y="92"/>
                    </a:lnTo>
                    <a:lnTo>
                      <a:pt x="521" y="92"/>
                    </a:lnTo>
                    <a:lnTo>
                      <a:pt x="519" y="92"/>
                    </a:lnTo>
                    <a:lnTo>
                      <a:pt x="519" y="91"/>
                    </a:lnTo>
                    <a:lnTo>
                      <a:pt x="519" y="90"/>
                    </a:lnTo>
                    <a:lnTo>
                      <a:pt x="520" y="90"/>
                    </a:lnTo>
                    <a:lnTo>
                      <a:pt x="522" y="90"/>
                    </a:lnTo>
                    <a:lnTo>
                      <a:pt x="522" y="88"/>
                    </a:lnTo>
                    <a:lnTo>
                      <a:pt x="526" y="83"/>
                    </a:lnTo>
                    <a:lnTo>
                      <a:pt x="527" y="82"/>
                    </a:lnTo>
                    <a:lnTo>
                      <a:pt x="529" y="82"/>
                    </a:lnTo>
                    <a:lnTo>
                      <a:pt x="530" y="82"/>
                    </a:lnTo>
                    <a:lnTo>
                      <a:pt x="531" y="81"/>
                    </a:lnTo>
                    <a:lnTo>
                      <a:pt x="534" y="78"/>
                    </a:lnTo>
                    <a:lnTo>
                      <a:pt x="536" y="76"/>
                    </a:lnTo>
                    <a:lnTo>
                      <a:pt x="537" y="76"/>
                    </a:lnTo>
                    <a:lnTo>
                      <a:pt x="538" y="74"/>
                    </a:lnTo>
                    <a:lnTo>
                      <a:pt x="540" y="75"/>
                    </a:lnTo>
                    <a:lnTo>
                      <a:pt x="541" y="75"/>
                    </a:lnTo>
                    <a:lnTo>
                      <a:pt x="543" y="74"/>
                    </a:lnTo>
                    <a:lnTo>
                      <a:pt x="544" y="72"/>
                    </a:lnTo>
                    <a:lnTo>
                      <a:pt x="547" y="72"/>
                    </a:lnTo>
                    <a:lnTo>
                      <a:pt x="547" y="71"/>
                    </a:lnTo>
                    <a:lnTo>
                      <a:pt x="547" y="70"/>
                    </a:lnTo>
                    <a:lnTo>
                      <a:pt x="548" y="71"/>
                    </a:lnTo>
                    <a:lnTo>
                      <a:pt x="548" y="72"/>
                    </a:lnTo>
                    <a:lnTo>
                      <a:pt x="547" y="74"/>
                    </a:lnTo>
                    <a:lnTo>
                      <a:pt x="545" y="74"/>
                    </a:lnTo>
                    <a:lnTo>
                      <a:pt x="544" y="75"/>
                    </a:lnTo>
                    <a:lnTo>
                      <a:pt x="543" y="75"/>
                    </a:lnTo>
                    <a:lnTo>
                      <a:pt x="542" y="76"/>
                    </a:lnTo>
                    <a:lnTo>
                      <a:pt x="541" y="76"/>
                    </a:lnTo>
                    <a:lnTo>
                      <a:pt x="540" y="76"/>
                    </a:lnTo>
                    <a:lnTo>
                      <a:pt x="540" y="77"/>
                    </a:lnTo>
                    <a:lnTo>
                      <a:pt x="541" y="78"/>
                    </a:lnTo>
                    <a:lnTo>
                      <a:pt x="541" y="79"/>
                    </a:lnTo>
                    <a:lnTo>
                      <a:pt x="542" y="78"/>
                    </a:lnTo>
                    <a:lnTo>
                      <a:pt x="543" y="77"/>
                    </a:lnTo>
                    <a:lnTo>
                      <a:pt x="544" y="78"/>
                    </a:lnTo>
                    <a:lnTo>
                      <a:pt x="545" y="82"/>
                    </a:lnTo>
                    <a:lnTo>
                      <a:pt x="547" y="84"/>
                    </a:lnTo>
                    <a:lnTo>
                      <a:pt x="548" y="85"/>
                    </a:lnTo>
                    <a:lnTo>
                      <a:pt x="548" y="88"/>
                    </a:lnTo>
                    <a:lnTo>
                      <a:pt x="548" y="90"/>
                    </a:lnTo>
                    <a:lnTo>
                      <a:pt x="549" y="92"/>
                    </a:lnTo>
                    <a:lnTo>
                      <a:pt x="550" y="93"/>
                    </a:lnTo>
                    <a:lnTo>
                      <a:pt x="551" y="95"/>
                    </a:lnTo>
                    <a:lnTo>
                      <a:pt x="552" y="97"/>
                    </a:lnTo>
                    <a:lnTo>
                      <a:pt x="554" y="98"/>
                    </a:lnTo>
                    <a:lnTo>
                      <a:pt x="556" y="100"/>
                    </a:lnTo>
                    <a:lnTo>
                      <a:pt x="558" y="100"/>
                    </a:lnTo>
                    <a:lnTo>
                      <a:pt x="559" y="99"/>
                    </a:lnTo>
                    <a:lnTo>
                      <a:pt x="562" y="97"/>
                    </a:lnTo>
                    <a:lnTo>
                      <a:pt x="561" y="97"/>
                    </a:lnTo>
                    <a:lnTo>
                      <a:pt x="561" y="96"/>
                    </a:lnTo>
                    <a:lnTo>
                      <a:pt x="558" y="96"/>
                    </a:lnTo>
                    <a:lnTo>
                      <a:pt x="557" y="95"/>
                    </a:lnTo>
                    <a:lnTo>
                      <a:pt x="557" y="93"/>
                    </a:lnTo>
                    <a:lnTo>
                      <a:pt x="555" y="95"/>
                    </a:lnTo>
                    <a:lnTo>
                      <a:pt x="556" y="92"/>
                    </a:lnTo>
                    <a:lnTo>
                      <a:pt x="557" y="92"/>
                    </a:lnTo>
                    <a:lnTo>
                      <a:pt x="558" y="92"/>
                    </a:lnTo>
                    <a:lnTo>
                      <a:pt x="561" y="91"/>
                    </a:lnTo>
                    <a:lnTo>
                      <a:pt x="563" y="92"/>
                    </a:lnTo>
                    <a:lnTo>
                      <a:pt x="564" y="93"/>
                    </a:lnTo>
                    <a:lnTo>
                      <a:pt x="565" y="95"/>
                    </a:lnTo>
                    <a:lnTo>
                      <a:pt x="568" y="95"/>
                    </a:lnTo>
                    <a:lnTo>
                      <a:pt x="570" y="96"/>
                    </a:lnTo>
                    <a:lnTo>
                      <a:pt x="571" y="99"/>
                    </a:lnTo>
                    <a:lnTo>
                      <a:pt x="573" y="100"/>
                    </a:lnTo>
                    <a:lnTo>
                      <a:pt x="573" y="103"/>
                    </a:lnTo>
                    <a:lnTo>
                      <a:pt x="573" y="105"/>
                    </a:lnTo>
                    <a:lnTo>
                      <a:pt x="575" y="106"/>
                    </a:lnTo>
                    <a:lnTo>
                      <a:pt x="576" y="105"/>
                    </a:lnTo>
                    <a:lnTo>
                      <a:pt x="577" y="105"/>
                    </a:lnTo>
                    <a:lnTo>
                      <a:pt x="576" y="106"/>
                    </a:lnTo>
                    <a:lnTo>
                      <a:pt x="576" y="107"/>
                    </a:lnTo>
                    <a:lnTo>
                      <a:pt x="575" y="107"/>
                    </a:lnTo>
                    <a:lnTo>
                      <a:pt x="573" y="107"/>
                    </a:lnTo>
                    <a:lnTo>
                      <a:pt x="571" y="109"/>
                    </a:lnTo>
                    <a:lnTo>
                      <a:pt x="568" y="112"/>
                    </a:lnTo>
                    <a:lnTo>
                      <a:pt x="563" y="118"/>
                    </a:lnTo>
                    <a:lnTo>
                      <a:pt x="562" y="119"/>
                    </a:lnTo>
                    <a:lnTo>
                      <a:pt x="561" y="119"/>
                    </a:lnTo>
                    <a:lnTo>
                      <a:pt x="561" y="118"/>
                    </a:lnTo>
                    <a:lnTo>
                      <a:pt x="562" y="117"/>
                    </a:lnTo>
                    <a:lnTo>
                      <a:pt x="563" y="116"/>
                    </a:lnTo>
                    <a:lnTo>
                      <a:pt x="564" y="114"/>
                    </a:lnTo>
                    <a:lnTo>
                      <a:pt x="564" y="113"/>
                    </a:lnTo>
                    <a:lnTo>
                      <a:pt x="563" y="112"/>
                    </a:lnTo>
                    <a:lnTo>
                      <a:pt x="562" y="112"/>
                    </a:lnTo>
                    <a:lnTo>
                      <a:pt x="562" y="113"/>
                    </a:lnTo>
                    <a:lnTo>
                      <a:pt x="561" y="113"/>
                    </a:lnTo>
                    <a:lnTo>
                      <a:pt x="559" y="114"/>
                    </a:lnTo>
                    <a:lnTo>
                      <a:pt x="558" y="117"/>
                    </a:lnTo>
                    <a:lnTo>
                      <a:pt x="559" y="120"/>
                    </a:lnTo>
                    <a:lnTo>
                      <a:pt x="561" y="121"/>
                    </a:lnTo>
                    <a:lnTo>
                      <a:pt x="559" y="121"/>
                    </a:lnTo>
                    <a:lnTo>
                      <a:pt x="558" y="123"/>
                    </a:lnTo>
                    <a:lnTo>
                      <a:pt x="556" y="125"/>
                    </a:lnTo>
                    <a:lnTo>
                      <a:pt x="554" y="128"/>
                    </a:lnTo>
                    <a:lnTo>
                      <a:pt x="556" y="131"/>
                    </a:lnTo>
                    <a:lnTo>
                      <a:pt x="555" y="132"/>
                    </a:lnTo>
                    <a:lnTo>
                      <a:pt x="554" y="132"/>
                    </a:lnTo>
                    <a:lnTo>
                      <a:pt x="550" y="131"/>
                    </a:lnTo>
                    <a:lnTo>
                      <a:pt x="549" y="132"/>
                    </a:lnTo>
                    <a:lnTo>
                      <a:pt x="549" y="133"/>
                    </a:lnTo>
                    <a:lnTo>
                      <a:pt x="549" y="134"/>
                    </a:lnTo>
                    <a:lnTo>
                      <a:pt x="550" y="135"/>
                    </a:lnTo>
                    <a:lnTo>
                      <a:pt x="550" y="138"/>
                    </a:lnTo>
                    <a:lnTo>
                      <a:pt x="550" y="139"/>
                    </a:lnTo>
                    <a:lnTo>
                      <a:pt x="550" y="140"/>
                    </a:lnTo>
                    <a:lnTo>
                      <a:pt x="549" y="141"/>
                    </a:lnTo>
                    <a:lnTo>
                      <a:pt x="548" y="141"/>
                    </a:lnTo>
                    <a:lnTo>
                      <a:pt x="547" y="140"/>
                    </a:lnTo>
                    <a:lnTo>
                      <a:pt x="547" y="139"/>
                    </a:lnTo>
                    <a:lnTo>
                      <a:pt x="547" y="138"/>
                    </a:lnTo>
                    <a:lnTo>
                      <a:pt x="545" y="135"/>
                    </a:lnTo>
                    <a:lnTo>
                      <a:pt x="545" y="134"/>
                    </a:lnTo>
                    <a:lnTo>
                      <a:pt x="544" y="134"/>
                    </a:lnTo>
                    <a:lnTo>
                      <a:pt x="543" y="134"/>
                    </a:lnTo>
                    <a:lnTo>
                      <a:pt x="543" y="135"/>
                    </a:lnTo>
                    <a:lnTo>
                      <a:pt x="543" y="137"/>
                    </a:lnTo>
                    <a:lnTo>
                      <a:pt x="543" y="138"/>
                    </a:lnTo>
                    <a:lnTo>
                      <a:pt x="543" y="139"/>
                    </a:lnTo>
                    <a:lnTo>
                      <a:pt x="542" y="139"/>
                    </a:lnTo>
                    <a:lnTo>
                      <a:pt x="541" y="137"/>
                    </a:lnTo>
                    <a:lnTo>
                      <a:pt x="540" y="135"/>
                    </a:lnTo>
                    <a:lnTo>
                      <a:pt x="538" y="137"/>
                    </a:lnTo>
                    <a:lnTo>
                      <a:pt x="538" y="138"/>
                    </a:lnTo>
                    <a:lnTo>
                      <a:pt x="540" y="140"/>
                    </a:lnTo>
                    <a:lnTo>
                      <a:pt x="540" y="141"/>
                    </a:lnTo>
                    <a:lnTo>
                      <a:pt x="540" y="142"/>
                    </a:lnTo>
                    <a:lnTo>
                      <a:pt x="543" y="145"/>
                    </a:lnTo>
                    <a:lnTo>
                      <a:pt x="544" y="144"/>
                    </a:lnTo>
                    <a:lnTo>
                      <a:pt x="544" y="145"/>
                    </a:lnTo>
                    <a:lnTo>
                      <a:pt x="544" y="147"/>
                    </a:lnTo>
                    <a:lnTo>
                      <a:pt x="545" y="147"/>
                    </a:lnTo>
                    <a:lnTo>
                      <a:pt x="549" y="148"/>
                    </a:lnTo>
                    <a:lnTo>
                      <a:pt x="550" y="151"/>
                    </a:lnTo>
                    <a:lnTo>
                      <a:pt x="551" y="152"/>
                    </a:lnTo>
                    <a:lnTo>
                      <a:pt x="552" y="153"/>
                    </a:lnTo>
                    <a:lnTo>
                      <a:pt x="552" y="154"/>
                    </a:lnTo>
                    <a:lnTo>
                      <a:pt x="551" y="154"/>
                    </a:lnTo>
                    <a:lnTo>
                      <a:pt x="550" y="153"/>
                    </a:lnTo>
                    <a:lnTo>
                      <a:pt x="549" y="153"/>
                    </a:lnTo>
                    <a:lnTo>
                      <a:pt x="549" y="152"/>
                    </a:lnTo>
                    <a:lnTo>
                      <a:pt x="548" y="152"/>
                    </a:lnTo>
                    <a:lnTo>
                      <a:pt x="547" y="154"/>
                    </a:lnTo>
                    <a:lnTo>
                      <a:pt x="545" y="154"/>
                    </a:lnTo>
                    <a:lnTo>
                      <a:pt x="545" y="152"/>
                    </a:lnTo>
                    <a:lnTo>
                      <a:pt x="544" y="151"/>
                    </a:lnTo>
                    <a:lnTo>
                      <a:pt x="543" y="151"/>
                    </a:lnTo>
                    <a:lnTo>
                      <a:pt x="543" y="152"/>
                    </a:lnTo>
                    <a:lnTo>
                      <a:pt x="542" y="151"/>
                    </a:lnTo>
                    <a:lnTo>
                      <a:pt x="541" y="152"/>
                    </a:lnTo>
                    <a:lnTo>
                      <a:pt x="540" y="152"/>
                    </a:lnTo>
                    <a:lnTo>
                      <a:pt x="540" y="153"/>
                    </a:lnTo>
                    <a:lnTo>
                      <a:pt x="541" y="154"/>
                    </a:lnTo>
                    <a:lnTo>
                      <a:pt x="542" y="154"/>
                    </a:lnTo>
                    <a:lnTo>
                      <a:pt x="542" y="155"/>
                    </a:lnTo>
                    <a:lnTo>
                      <a:pt x="543" y="156"/>
                    </a:lnTo>
                    <a:lnTo>
                      <a:pt x="545" y="158"/>
                    </a:lnTo>
                    <a:lnTo>
                      <a:pt x="543" y="161"/>
                    </a:lnTo>
                    <a:lnTo>
                      <a:pt x="543" y="165"/>
                    </a:lnTo>
                    <a:lnTo>
                      <a:pt x="541" y="163"/>
                    </a:lnTo>
                    <a:lnTo>
                      <a:pt x="540" y="165"/>
                    </a:lnTo>
                    <a:lnTo>
                      <a:pt x="538" y="166"/>
                    </a:lnTo>
                    <a:lnTo>
                      <a:pt x="538" y="167"/>
                    </a:lnTo>
                    <a:lnTo>
                      <a:pt x="538" y="170"/>
                    </a:lnTo>
                    <a:lnTo>
                      <a:pt x="538" y="172"/>
                    </a:lnTo>
                    <a:lnTo>
                      <a:pt x="537" y="172"/>
                    </a:lnTo>
                    <a:lnTo>
                      <a:pt x="537" y="170"/>
                    </a:lnTo>
                    <a:lnTo>
                      <a:pt x="536" y="169"/>
                    </a:lnTo>
                    <a:lnTo>
                      <a:pt x="535" y="170"/>
                    </a:lnTo>
                    <a:lnTo>
                      <a:pt x="533" y="172"/>
                    </a:lnTo>
                    <a:lnTo>
                      <a:pt x="533" y="173"/>
                    </a:lnTo>
                    <a:lnTo>
                      <a:pt x="530" y="175"/>
                    </a:lnTo>
                    <a:lnTo>
                      <a:pt x="529" y="176"/>
                    </a:lnTo>
                    <a:lnTo>
                      <a:pt x="529" y="177"/>
                    </a:lnTo>
                    <a:lnTo>
                      <a:pt x="528" y="176"/>
                    </a:lnTo>
                    <a:lnTo>
                      <a:pt x="527" y="176"/>
                    </a:lnTo>
                    <a:lnTo>
                      <a:pt x="527" y="175"/>
                    </a:lnTo>
                    <a:lnTo>
                      <a:pt x="529" y="174"/>
                    </a:lnTo>
                    <a:lnTo>
                      <a:pt x="529" y="173"/>
                    </a:lnTo>
                    <a:lnTo>
                      <a:pt x="528" y="173"/>
                    </a:lnTo>
                    <a:lnTo>
                      <a:pt x="528" y="172"/>
                    </a:lnTo>
                    <a:lnTo>
                      <a:pt x="529" y="172"/>
                    </a:lnTo>
                    <a:lnTo>
                      <a:pt x="530" y="172"/>
                    </a:lnTo>
                    <a:lnTo>
                      <a:pt x="531" y="172"/>
                    </a:lnTo>
                    <a:lnTo>
                      <a:pt x="533" y="170"/>
                    </a:lnTo>
                    <a:lnTo>
                      <a:pt x="531" y="169"/>
                    </a:lnTo>
                    <a:lnTo>
                      <a:pt x="530" y="168"/>
                    </a:lnTo>
                    <a:lnTo>
                      <a:pt x="531" y="166"/>
                    </a:lnTo>
                    <a:lnTo>
                      <a:pt x="530" y="165"/>
                    </a:lnTo>
                    <a:lnTo>
                      <a:pt x="530" y="160"/>
                    </a:lnTo>
                    <a:lnTo>
                      <a:pt x="531" y="158"/>
                    </a:lnTo>
                    <a:lnTo>
                      <a:pt x="530" y="158"/>
                    </a:lnTo>
                    <a:lnTo>
                      <a:pt x="529" y="156"/>
                    </a:lnTo>
                    <a:lnTo>
                      <a:pt x="528" y="156"/>
                    </a:lnTo>
                    <a:lnTo>
                      <a:pt x="527" y="158"/>
                    </a:lnTo>
                    <a:lnTo>
                      <a:pt x="527" y="159"/>
                    </a:lnTo>
                    <a:lnTo>
                      <a:pt x="526" y="160"/>
                    </a:lnTo>
                    <a:lnTo>
                      <a:pt x="527" y="161"/>
                    </a:lnTo>
                    <a:lnTo>
                      <a:pt x="527" y="162"/>
                    </a:lnTo>
                    <a:lnTo>
                      <a:pt x="527" y="163"/>
                    </a:lnTo>
                    <a:lnTo>
                      <a:pt x="527" y="165"/>
                    </a:lnTo>
                    <a:lnTo>
                      <a:pt x="524" y="166"/>
                    </a:lnTo>
                    <a:lnTo>
                      <a:pt x="523" y="165"/>
                    </a:lnTo>
                    <a:lnTo>
                      <a:pt x="523" y="162"/>
                    </a:lnTo>
                    <a:lnTo>
                      <a:pt x="522" y="162"/>
                    </a:lnTo>
                    <a:lnTo>
                      <a:pt x="521" y="163"/>
                    </a:lnTo>
                    <a:lnTo>
                      <a:pt x="521" y="165"/>
                    </a:lnTo>
                    <a:lnTo>
                      <a:pt x="521" y="166"/>
                    </a:lnTo>
                    <a:lnTo>
                      <a:pt x="522" y="167"/>
                    </a:lnTo>
                    <a:lnTo>
                      <a:pt x="522" y="168"/>
                    </a:lnTo>
                    <a:lnTo>
                      <a:pt x="521" y="168"/>
                    </a:lnTo>
                    <a:lnTo>
                      <a:pt x="520" y="168"/>
                    </a:lnTo>
                    <a:lnTo>
                      <a:pt x="519" y="169"/>
                    </a:lnTo>
                    <a:lnTo>
                      <a:pt x="519" y="170"/>
                    </a:lnTo>
                    <a:lnTo>
                      <a:pt x="518" y="170"/>
                    </a:lnTo>
                    <a:lnTo>
                      <a:pt x="516" y="170"/>
                    </a:lnTo>
                    <a:lnTo>
                      <a:pt x="515" y="173"/>
                    </a:lnTo>
                    <a:lnTo>
                      <a:pt x="514" y="170"/>
                    </a:lnTo>
                    <a:lnTo>
                      <a:pt x="514" y="168"/>
                    </a:lnTo>
                    <a:lnTo>
                      <a:pt x="515" y="166"/>
                    </a:lnTo>
                    <a:lnTo>
                      <a:pt x="515" y="163"/>
                    </a:lnTo>
                    <a:lnTo>
                      <a:pt x="515" y="162"/>
                    </a:lnTo>
                    <a:lnTo>
                      <a:pt x="514" y="162"/>
                    </a:lnTo>
                    <a:lnTo>
                      <a:pt x="512" y="165"/>
                    </a:lnTo>
                    <a:lnTo>
                      <a:pt x="511" y="168"/>
                    </a:lnTo>
                    <a:lnTo>
                      <a:pt x="511" y="169"/>
                    </a:lnTo>
                    <a:lnTo>
                      <a:pt x="509" y="170"/>
                    </a:lnTo>
                    <a:lnTo>
                      <a:pt x="508" y="169"/>
                    </a:lnTo>
                    <a:lnTo>
                      <a:pt x="508" y="170"/>
                    </a:lnTo>
                    <a:lnTo>
                      <a:pt x="508" y="174"/>
                    </a:lnTo>
                    <a:lnTo>
                      <a:pt x="508" y="176"/>
                    </a:lnTo>
                    <a:lnTo>
                      <a:pt x="507" y="176"/>
                    </a:lnTo>
                    <a:lnTo>
                      <a:pt x="507" y="174"/>
                    </a:lnTo>
                    <a:lnTo>
                      <a:pt x="507" y="172"/>
                    </a:lnTo>
                    <a:lnTo>
                      <a:pt x="506" y="170"/>
                    </a:lnTo>
                    <a:lnTo>
                      <a:pt x="505" y="168"/>
                    </a:lnTo>
                    <a:lnTo>
                      <a:pt x="504" y="169"/>
                    </a:lnTo>
                    <a:lnTo>
                      <a:pt x="502" y="169"/>
                    </a:lnTo>
                    <a:lnTo>
                      <a:pt x="501" y="173"/>
                    </a:lnTo>
                    <a:lnTo>
                      <a:pt x="501" y="174"/>
                    </a:lnTo>
                    <a:lnTo>
                      <a:pt x="500" y="172"/>
                    </a:lnTo>
                    <a:lnTo>
                      <a:pt x="498" y="173"/>
                    </a:lnTo>
                    <a:lnTo>
                      <a:pt x="498" y="174"/>
                    </a:lnTo>
                    <a:lnTo>
                      <a:pt x="497" y="175"/>
                    </a:lnTo>
                    <a:lnTo>
                      <a:pt x="495" y="176"/>
                    </a:lnTo>
                    <a:lnTo>
                      <a:pt x="495" y="180"/>
                    </a:lnTo>
                    <a:lnTo>
                      <a:pt x="498" y="180"/>
                    </a:lnTo>
                    <a:lnTo>
                      <a:pt x="498" y="181"/>
                    </a:lnTo>
                    <a:lnTo>
                      <a:pt x="498" y="182"/>
                    </a:lnTo>
                    <a:lnTo>
                      <a:pt x="498" y="183"/>
                    </a:lnTo>
                    <a:lnTo>
                      <a:pt x="499" y="183"/>
                    </a:lnTo>
                    <a:lnTo>
                      <a:pt x="501" y="183"/>
                    </a:lnTo>
                    <a:lnTo>
                      <a:pt x="501" y="184"/>
                    </a:lnTo>
                    <a:lnTo>
                      <a:pt x="501" y="186"/>
                    </a:lnTo>
                    <a:lnTo>
                      <a:pt x="500" y="186"/>
                    </a:lnTo>
                    <a:lnTo>
                      <a:pt x="499" y="186"/>
                    </a:lnTo>
                    <a:lnTo>
                      <a:pt x="498" y="187"/>
                    </a:lnTo>
                    <a:lnTo>
                      <a:pt x="497" y="186"/>
                    </a:lnTo>
                    <a:lnTo>
                      <a:pt x="495" y="184"/>
                    </a:lnTo>
                    <a:lnTo>
                      <a:pt x="493" y="184"/>
                    </a:lnTo>
                    <a:lnTo>
                      <a:pt x="493" y="187"/>
                    </a:lnTo>
                    <a:lnTo>
                      <a:pt x="493" y="188"/>
                    </a:lnTo>
                    <a:lnTo>
                      <a:pt x="493" y="190"/>
                    </a:lnTo>
                    <a:lnTo>
                      <a:pt x="494" y="193"/>
                    </a:lnTo>
                    <a:lnTo>
                      <a:pt x="494" y="194"/>
                    </a:lnTo>
                    <a:lnTo>
                      <a:pt x="493" y="194"/>
                    </a:lnTo>
                    <a:lnTo>
                      <a:pt x="493" y="195"/>
                    </a:lnTo>
                    <a:lnTo>
                      <a:pt x="492" y="195"/>
                    </a:lnTo>
                    <a:lnTo>
                      <a:pt x="492" y="197"/>
                    </a:lnTo>
                    <a:lnTo>
                      <a:pt x="493" y="198"/>
                    </a:lnTo>
                    <a:lnTo>
                      <a:pt x="494" y="201"/>
                    </a:lnTo>
                    <a:lnTo>
                      <a:pt x="495" y="202"/>
                    </a:lnTo>
                    <a:lnTo>
                      <a:pt x="498" y="201"/>
                    </a:lnTo>
                    <a:lnTo>
                      <a:pt x="498" y="202"/>
                    </a:lnTo>
                    <a:lnTo>
                      <a:pt x="498" y="203"/>
                    </a:lnTo>
                    <a:lnTo>
                      <a:pt x="495" y="203"/>
                    </a:lnTo>
                    <a:lnTo>
                      <a:pt x="495" y="205"/>
                    </a:lnTo>
                    <a:lnTo>
                      <a:pt x="497" y="208"/>
                    </a:lnTo>
                    <a:lnTo>
                      <a:pt x="499" y="208"/>
                    </a:lnTo>
                    <a:lnTo>
                      <a:pt x="501" y="208"/>
                    </a:lnTo>
                    <a:lnTo>
                      <a:pt x="504" y="207"/>
                    </a:lnTo>
                    <a:lnTo>
                      <a:pt x="506" y="203"/>
                    </a:lnTo>
                    <a:lnTo>
                      <a:pt x="506" y="202"/>
                    </a:lnTo>
                    <a:lnTo>
                      <a:pt x="506" y="201"/>
                    </a:lnTo>
                    <a:lnTo>
                      <a:pt x="507" y="201"/>
                    </a:lnTo>
                    <a:lnTo>
                      <a:pt x="508" y="201"/>
                    </a:lnTo>
                    <a:lnTo>
                      <a:pt x="509" y="202"/>
                    </a:lnTo>
                    <a:lnTo>
                      <a:pt x="508" y="203"/>
                    </a:lnTo>
                    <a:lnTo>
                      <a:pt x="507" y="204"/>
                    </a:lnTo>
                    <a:lnTo>
                      <a:pt x="506" y="209"/>
                    </a:lnTo>
                    <a:lnTo>
                      <a:pt x="504" y="212"/>
                    </a:lnTo>
                    <a:lnTo>
                      <a:pt x="504" y="214"/>
                    </a:lnTo>
                    <a:lnTo>
                      <a:pt x="504" y="216"/>
                    </a:lnTo>
                    <a:lnTo>
                      <a:pt x="502" y="216"/>
                    </a:lnTo>
                    <a:lnTo>
                      <a:pt x="502" y="217"/>
                    </a:lnTo>
                    <a:lnTo>
                      <a:pt x="502" y="219"/>
                    </a:lnTo>
                    <a:lnTo>
                      <a:pt x="500" y="222"/>
                    </a:lnTo>
                    <a:lnTo>
                      <a:pt x="498" y="224"/>
                    </a:lnTo>
                    <a:lnTo>
                      <a:pt x="495" y="237"/>
                    </a:lnTo>
                    <a:lnTo>
                      <a:pt x="497" y="242"/>
                    </a:lnTo>
                    <a:lnTo>
                      <a:pt x="494" y="240"/>
                    </a:lnTo>
                    <a:lnTo>
                      <a:pt x="493" y="242"/>
                    </a:lnTo>
                    <a:lnTo>
                      <a:pt x="492" y="242"/>
                    </a:lnTo>
                    <a:lnTo>
                      <a:pt x="492" y="243"/>
                    </a:lnTo>
                    <a:lnTo>
                      <a:pt x="491" y="243"/>
                    </a:lnTo>
                    <a:lnTo>
                      <a:pt x="490" y="243"/>
                    </a:lnTo>
                    <a:lnTo>
                      <a:pt x="490" y="244"/>
                    </a:lnTo>
                    <a:lnTo>
                      <a:pt x="488" y="244"/>
                    </a:lnTo>
                    <a:lnTo>
                      <a:pt x="487" y="245"/>
                    </a:lnTo>
                    <a:lnTo>
                      <a:pt x="485" y="246"/>
                    </a:lnTo>
                    <a:lnTo>
                      <a:pt x="484" y="249"/>
                    </a:lnTo>
                    <a:lnTo>
                      <a:pt x="479" y="257"/>
                    </a:lnTo>
                    <a:lnTo>
                      <a:pt x="478" y="258"/>
                    </a:lnTo>
                    <a:lnTo>
                      <a:pt x="477" y="259"/>
                    </a:lnTo>
                    <a:lnTo>
                      <a:pt x="476" y="259"/>
                    </a:lnTo>
                    <a:lnTo>
                      <a:pt x="474" y="260"/>
                    </a:lnTo>
                    <a:lnTo>
                      <a:pt x="470" y="267"/>
                    </a:lnTo>
                    <a:lnTo>
                      <a:pt x="469" y="270"/>
                    </a:lnTo>
                    <a:lnTo>
                      <a:pt x="467" y="272"/>
                    </a:lnTo>
                    <a:lnTo>
                      <a:pt x="467" y="274"/>
                    </a:lnTo>
                    <a:lnTo>
                      <a:pt x="466" y="275"/>
                    </a:lnTo>
                    <a:lnTo>
                      <a:pt x="465" y="277"/>
                    </a:lnTo>
                    <a:lnTo>
                      <a:pt x="463" y="278"/>
                    </a:lnTo>
                    <a:lnTo>
                      <a:pt x="462" y="278"/>
                    </a:lnTo>
                    <a:lnTo>
                      <a:pt x="462" y="279"/>
                    </a:lnTo>
                    <a:lnTo>
                      <a:pt x="462" y="280"/>
                    </a:lnTo>
                    <a:lnTo>
                      <a:pt x="460" y="280"/>
                    </a:lnTo>
                    <a:lnTo>
                      <a:pt x="459" y="280"/>
                    </a:lnTo>
                    <a:lnTo>
                      <a:pt x="458" y="279"/>
                    </a:lnTo>
                    <a:lnTo>
                      <a:pt x="457" y="279"/>
                    </a:lnTo>
                    <a:lnTo>
                      <a:pt x="457" y="280"/>
                    </a:lnTo>
                    <a:lnTo>
                      <a:pt x="458" y="280"/>
                    </a:lnTo>
                    <a:lnTo>
                      <a:pt x="458" y="281"/>
                    </a:lnTo>
                    <a:lnTo>
                      <a:pt x="458" y="284"/>
                    </a:lnTo>
                    <a:lnTo>
                      <a:pt x="459" y="287"/>
                    </a:lnTo>
                    <a:lnTo>
                      <a:pt x="462" y="294"/>
                    </a:lnTo>
                    <a:lnTo>
                      <a:pt x="464" y="296"/>
                    </a:lnTo>
                    <a:lnTo>
                      <a:pt x="470" y="302"/>
                    </a:lnTo>
                    <a:lnTo>
                      <a:pt x="472" y="303"/>
                    </a:lnTo>
                    <a:lnTo>
                      <a:pt x="474" y="305"/>
                    </a:lnTo>
                    <a:lnTo>
                      <a:pt x="477" y="303"/>
                    </a:lnTo>
                    <a:lnTo>
                      <a:pt x="478" y="306"/>
                    </a:lnTo>
                    <a:lnTo>
                      <a:pt x="480" y="307"/>
                    </a:lnTo>
                    <a:lnTo>
                      <a:pt x="480" y="308"/>
                    </a:lnTo>
                    <a:lnTo>
                      <a:pt x="481" y="309"/>
                    </a:lnTo>
                    <a:lnTo>
                      <a:pt x="483" y="309"/>
                    </a:lnTo>
                    <a:lnTo>
                      <a:pt x="485" y="309"/>
                    </a:lnTo>
                    <a:lnTo>
                      <a:pt x="486" y="310"/>
                    </a:lnTo>
                    <a:lnTo>
                      <a:pt x="486" y="312"/>
                    </a:lnTo>
                    <a:lnTo>
                      <a:pt x="487" y="312"/>
                    </a:lnTo>
                    <a:lnTo>
                      <a:pt x="492" y="314"/>
                    </a:lnTo>
                    <a:lnTo>
                      <a:pt x="493" y="316"/>
                    </a:lnTo>
                    <a:lnTo>
                      <a:pt x="495" y="319"/>
                    </a:lnTo>
                    <a:lnTo>
                      <a:pt x="498" y="321"/>
                    </a:lnTo>
                    <a:lnTo>
                      <a:pt x="500" y="322"/>
                    </a:lnTo>
                    <a:lnTo>
                      <a:pt x="501" y="322"/>
                    </a:lnTo>
                    <a:lnTo>
                      <a:pt x="505" y="323"/>
                    </a:lnTo>
                    <a:lnTo>
                      <a:pt x="506" y="324"/>
                    </a:lnTo>
                    <a:lnTo>
                      <a:pt x="508" y="327"/>
                    </a:lnTo>
                    <a:lnTo>
                      <a:pt x="509" y="327"/>
                    </a:lnTo>
                    <a:lnTo>
                      <a:pt x="511" y="328"/>
                    </a:lnTo>
                    <a:lnTo>
                      <a:pt x="513" y="329"/>
                    </a:lnTo>
                    <a:lnTo>
                      <a:pt x="516" y="330"/>
                    </a:lnTo>
                    <a:lnTo>
                      <a:pt x="518" y="331"/>
                    </a:lnTo>
                    <a:lnTo>
                      <a:pt x="519" y="333"/>
                    </a:lnTo>
                    <a:lnTo>
                      <a:pt x="520" y="336"/>
                    </a:lnTo>
                    <a:lnTo>
                      <a:pt x="520" y="342"/>
                    </a:lnTo>
                    <a:lnTo>
                      <a:pt x="521" y="343"/>
                    </a:lnTo>
                    <a:lnTo>
                      <a:pt x="524" y="347"/>
                    </a:lnTo>
                    <a:lnTo>
                      <a:pt x="526" y="347"/>
                    </a:lnTo>
                    <a:lnTo>
                      <a:pt x="529" y="347"/>
                    </a:lnTo>
                    <a:lnTo>
                      <a:pt x="530" y="348"/>
                    </a:lnTo>
                    <a:lnTo>
                      <a:pt x="534" y="351"/>
                    </a:lnTo>
                    <a:lnTo>
                      <a:pt x="536" y="352"/>
                    </a:lnTo>
                    <a:lnTo>
                      <a:pt x="537" y="354"/>
                    </a:lnTo>
                    <a:lnTo>
                      <a:pt x="538" y="355"/>
                    </a:lnTo>
                    <a:lnTo>
                      <a:pt x="541" y="355"/>
                    </a:lnTo>
                    <a:lnTo>
                      <a:pt x="542" y="355"/>
                    </a:lnTo>
                    <a:lnTo>
                      <a:pt x="543" y="355"/>
                    </a:lnTo>
                    <a:lnTo>
                      <a:pt x="544" y="357"/>
                    </a:lnTo>
                    <a:lnTo>
                      <a:pt x="548" y="361"/>
                    </a:lnTo>
                    <a:lnTo>
                      <a:pt x="549" y="361"/>
                    </a:lnTo>
                    <a:lnTo>
                      <a:pt x="551" y="364"/>
                    </a:lnTo>
                    <a:lnTo>
                      <a:pt x="551" y="365"/>
                    </a:lnTo>
                    <a:lnTo>
                      <a:pt x="552" y="365"/>
                    </a:lnTo>
                    <a:lnTo>
                      <a:pt x="552" y="368"/>
                    </a:lnTo>
                    <a:lnTo>
                      <a:pt x="551" y="369"/>
                    </a:lnTo>
                    <a:lnTo>
                      <a:pt x="551" y="370"/>
                    </a:lnTo>
                    <a:lnTo>
                      <a:pt x="551" y="371"/>
                    </a:lnTo>
                    <a:lnTo>
                      <a:pt x="552" y="371"/>
                    </a:lnTo>
                    <a:lnTo>
                      <a:pt x="555" y="371"/>
                    </a:lnTo>
                    <a:lnTo>
                      <a:pt x="555" y="370"/>
                    </a:lnTo>
                    <a:lnTo>
                      <a:pt x="556" y="369"/>
                    </a:lnTo>
                    <a:lnTo>
                      <a:pt x="557" y="369"/>
                    </a:lnTo>
                    <a:lnTo>
                      <a:pt x="559" y="369"/>
                    </a:lnTo>
                    <a:lnTo>
                      <a:pt x="562" y="369"/>
                    </a:lnTo>
                    <a:lnTo>
                      <a:pt x="563" y="370"/>
                    </a:lnTo>
                    <a:lnTo>
                      <a:pt x="565" y="371"/>
                    </a:lnTo>
                    <a:lnTo>
                      <a:pt x="566" y="371"/>
                    </a:lnTo>
                    <a:lnTo>
                      <a:pt x="566" y="370"/>
                    </a:lnTo>
                    <a:lnTo>
                      <a:pt x="566" y="369"/>
                    </a:lnTo>
                    <a:lnTo>
                      <a:pt x="568" y="368"/>
                    </a:lnTo>
                    <a:lnTo>
                      <a:pt x="571" y="366"/>
                    </a:lnTo>
                    <a:lnTo>
                      <a:pt x="572" y="369"/>
                    </a:lnTo>
                    <a:lnTo>
                      <a:pt x="576" y="371"/>
                    </a:lnTo>
                    <a:lnTo>
                      <a:pt x="578" y="372"/>
                    </a:lnTo>
                    <a:lnTo>
                      <a:pt x="582" y="373"/>
                    </a:lnTo>
                    <a:lnTo>
                      <a:pt x="583" y="375"/>
                    </a:lnTo>
                    <a:lnTo>
                      <a:pt x="585" y="375"/>
                    </a:lnTo>
                    <a:lnTo>
                      <a:pt x="585" y="376"/>
                    </a:lnTo>
                    <a:lnTo>
                      <a:pt x="586" y="376"/>
                    </a:lnTo>
                    <a:lnTo>
                      <a:pt x="590" y="378"/>
                    </a:lnTo>
                    <a:lnTo>
                      <a:pt x="590" y="379"/>
                    </a:lnTo>
                    <a:lnTo>
                      <a:pt x="591" y="379"/>
                    </a:lnTo>
                    <a:lnTo>
                      <a:pt x="592" y="382"/>
                    </a:lnTo>
                    <a:lnTo>
                      <a:pt x="597" y="386"/>
                    </a:lnTo>
                    <a:lnTo>
                      <a:pt x="599" y="386"/>
                    </a:lnTo>
                    <a:lnTo>
                      <a:pt x="600" y="386"/>
                    </a:lnTo>
                    <a:lnTo>
                      <a:pt x="601" y="386"/>
                    </a:lnTo>
                    <a:lnTo>
                      <a:pt x="601" y="387"/>
                    </a:lnTo>
                    <a:lnTo>
                      <a:pt x="601" y="389"/>
                    </a:lnTo>
                    <a:lnTo>
                      <a:pt x="602" y="389"/>
                    </a:lnTo>
                    <a:lnTo>
                      <a:pt x="604" y="389"/>
                    </a:lnTo>
                    <a:lnTo>
                      <a:pt x="605" y="390"/>
                    </a:lnTo>
                    <a:lnTo>
                      <a:pt x="606" y="390"/>
                    </a:lnTo>
                    <a:lnTo>
                      <a:pt x="607" y="390"/>
                    </a:lnTo>
                    <a:lnTo>
                      <a:pt x="608" y="390"/>
                    </a:lnTo>
                    <a:lnTo>
                      <a:pt x="609" y="390"/>
                    </a:lnTo>
                    <a:lnTo>
                      <a:pt x="611" y="390"/>
                    </a:lnTo>
                    <a:lnTo>
                      <a:pt x="619" y="393"/>
                    </a:lnTo>
                    <a:lnTo>
                      <a:pt x="620" y="394"/>
                    </a:lnTo>
                    <a:lnTo>
                      <a:pt x="623" y="396"/>
                    </a:lnTo>
                    <a:lnTo>
                      <a:pt x="625" y="397"/>
                    </a:lnTo>
                    <a:lnTo>
                      <a:pt x="627" y="400"/>
                    </a:lnTo>
                    <a:lnTo>
                      <a:pt x="627" y="401"/>
                    </a:lnTo>
                    <a:lnTo>
                      <a:pt x="630" y="407"/>
                    </a:lnTo>
                    <a:lnTo>
                      <a:pt x="632" y="408"/>
                    </a:lnTo>
                    <a:lnTo>
                      <a:pt x="633" y="411"/>
                    </a:lnTo>
                    <a:lnTo>
                      <a:pt x="635" y="413"/>
                    </a:lnTo>
                    <a:lnTo>
                      <a:pt x="639" y="415"/>
                    </a:lnTo>
                    <a:lnTo>
                      <a:pt x="642" y="418"/>
                    </a:lnTo>
                    <a:lnTo>
                      <a:pt x="642" y="419"/>
                    </a:lnTo>
                    <a:lnTo>
                      <a:pt x="641" y="441"/>
                    </a:lnTo>
                    <a:lnTo>
                      <a:pt x="640" y="462"/>
                    </a:lnTo>
                    <a:lnTo>
                      <a:pt x="640" y="484"/>
                    </a:lnTo>
                    <a:lnTo>
                      <a:pt x="639" y="506"/>
                    </a:lnTo>
                    <a:lnTo>
                      <a:pt x="639" y="527"/>
                    </a:lnTo>
                    <a:lnTo>
                      <a:pt x="637" y="550"/>
                    </a:lnTo>
                    <a:lnTo>
                      <a:pt x="636" y="571"/>
                    </a:lnTo>
                    <a:lnTo>
                      <a:pt x="636" y="593"/>
                    </a:lnTo>
                    <a:lnTo>
                      <a:pt x="635" y="614"/>
                    </a:lnTo>
                    <a:lnTo>
                      <a:pt x="635" y="636"/>
                    </a:lnTo>
                    <a:lnTo>
                      <a:pt x="634" y="657"/>
                    </a:lnTo>
                    <a:lnTo>
                      <a:pt x="634" y="679"/>
                    </a:lnTo>
                    <a:lnTo>
                      <a:pt x="633" y="700"/>
                    </a:lnTo>
                    <a:lnTo>
                      <a:pt x="632" y="721"/>
                    </a:lnTo>
                    <a:lnTo>
                      <a:pt x="632" y="743"/>
                    </a:lnTo>
                    <a:lnTo>
                      <a:pt x="630" y="764"/>
                    </a:lnTo>
                    <a:lnTo>
                      <a:pt x="630" y="786"/>
                    </a:lnTo>
                    <a:lnTo>
                      <a:pt x="629" y="807"/>
                    </a:lnTo>
                    <a:lnTo>
                      <a:pt x="628" y="828"/>
                    </a:lnTo>
                    <a:lnTo>
                      <a:pt x="628" y="850"/>
                    </a:lnTo>
                    <a:lnTo>
                      <a:pt x="627" y="871"/>
                    </a:lnTo>
                    <a:lnTo>
                      <a:pt x="627" y="894"/>
                    </a:lnTo>
                    <a:lnTo>
                      <a:pt x="626" y="915"/>
                    </a:lnTo>
                    <a:lnTo>
                      <a:pt x="625" y="936"/>
                    </a:lnTo>
                    <a:lnTo>
                      <a:pt x="625" y="958"/>
                    </a:lnTo>
                    <a:lnTo>
                      <a:pt x="623" y="979"/>
                    </a:lnTo>
                    <a:lnTo>
                      <a:pt x="623" y="1000"/>
                    </a:lnTo>
                    <a:lnTo>
                      <a:pt x="622" y="1022"/>
                    </a:lnTo>
                    <a:lnTo>
                      <a:pt x="622" y="1043"/>
                    </a:lnTo>
                    <a:lnTo>
                      <a:pt x="621" y="1064"/>
                    </a:lnTo>
                    <a:lnTo>
                      <a:pt x="620" y="1086"/>
                    </a:lnTo>
                    <a:lnTo>
                      <a:pt x="620" y="1107"/>
                    </a:lnTo>
                    <a:lnTo>
                      <a:pt x="601" y="1107"/>
                    </a:lnTo>
                    <a:lnTo>
                      <a:pt x="583" y="1106"/>
                    </a:lnTo>
                    <a:lnTo>
                      <a:pt x="564" y="1106"/>
                    </a:lnTo>
                    <a:lnTo>
                      <a:pt x="547" y="1105"/>
                    </a:lnTo>
                    <a:lnTo>
                      <a:pt x="528" y="1105"/>
                    </a:lnTo>
                    <a:lnTo>
                      <a:pt x="509" y="1105"/>
                    </a:lnTo>
                    <a:lnTo>
                      <a:pt x="491" y="1104"/>
                    </a:lnTo>
                    <a:lnTo>
                      <a:pt x="472" y="1104"/>
                    </a:lnTo>
                    <a:lnTo>
                      <a:pt x="455" y="1104"/>
                    </a:lnTo>
                    <a:lnTo>
                      <a:pt x="436" y="1104"/>
                    </a:lnTo>
                    <a:lnTo>
                      <a:pt x="417" y="1104"/>
                    </a:lnTo>
                    <a:lnTo>
                      <a:pt x="399" y="1104"/>
                    </a:lnTo>
                    <a:lnTo>
                      <a:pt x="381" y="1104"/>
                    </a:lnTo>
                    <a:lnTo>
                      <a:pt x="363" y="1104"/>
                    </a:lnTo>
                    <a:lnTo>
                      <a:pt x="344" y="1104"/>
                    </a:lnTo>
                    <a:lnTo>
                      <a:pt x="326" y="1104"/>
                    </a:lnTo>
                    <a:lnTo>
                      <a:pt x="307" y="1104"/>
                    </a:lnTo>
                    <a:lnTo>
                      <a:pt x="289" y="1104"/>
                    </a:lnTo>
                    <a:lnTo>
                      <a:pt x="286" y="1104"/>
                    </a:lnTo>
                    <a:lnTo>
                      <a:pt x="271" y="1104"/>
                    </a:lnTo>
                    <a:lnTo>
                      <a:pt x="252" y="1104"/>
                    </a:lnTo>
                    <a:lnTo>
                      <a:pt x="234" y="1104"/>
                    </a:lnTo>
                    <a:lnTo>
                      <a:pt x="215" y="1105"/>
                    </a:lnTo>
                    <a:lnTo>
                      <a:pt x="198" y="1105"/>
                    </a:lnTo>
                    <a:lnTo>
                      <a:pt x="179" y="1105"/>
                    </a:lnTo>
                    <a:lnTo>
                      <a:pt x="160" y="1106"/>
                    </a:lnTo>
                    <a:lnTo>
                      <a:pt x="142" y="1106"/>
                    </a:lnTo>
                    <a:lnTo>
                      <a:pt x="123" y="1106"/>
                    </a:lnTo>
                    <a:lnTo>
                      <a:pt x="106" y="1107"/>
                    </a:lnTo>
                    <a:lnTo>
                      <a:pt x="87" y="1107"/>
                    </a:lnTo>
                    <a:lnTo>
                      <a:pt x="68" y="1108"/>
                    </a:lnTo>
                    <a:lnTo>
                      <a:pt x="50" y="1108"/>
                    </a:lnTo>
                    <a:lnTo>
                      <a:pt x="31" y="1109"/>
                    </a:lnTo>
                    <a:lnTo>
                      <a:pt x="31" y="1085"/>
                    </a:lnTo>
                    <a:lnTo>
                      <a:pt x="30" y="1059"/>
                    </a:lnTo>
                    <a:lnTo>
                      <a:pt x="29" y="1034"/>
                    </a:lnTo>
                    <a:lnTo>
                      <a:pt x="28" y="1009"/>
                    </a:lnTo>
                    <a:lnTo>
                      <a:pt x="26" y="983"/>
                    </a:lnTo>
                    <a:lnTo>
                      <a:pt x="25" y="958"/>
                    </a:lnTo>
                    <a:lnTo>
                      <a:pt x="24" y="933"/>
                    </a:lnTo>
                    <a:lnTo>
                      <a:pt x="24" y="908"/>
                    </a:lnTo>
                    <a:lnTo>
                      <a:pt x="23" y="883"/>
                    </a:lnTo>
                    <a:lnTo>
                      <a:pt x="22" y="857"/>
                    </a:lnTo>
                    <a:lnTo>
                      <a:pt x="21" y="832"/>
                    </a:lnTo>
                    <a:lnTo>
                      <a:pt x="19" y="807"/>
                    </a:lnTo>
                    <a:lnTo>
                      <a:pt x="18" y="782"/>
                    </a:lnTo>
                    <a:lnTo>
                      <a:pt x="17" y="756"/>
                    </a:lnTo>
                    <a:lnTo>
                      <a:pt x="17" y="731"/>
                    </a:lnTo>
                    <a:lnTo>
                      <a:pt x="16" y="706"/>
                    </a:lnTo>
                    <a:lnTo>
                      <a:pt x="15" y="680"/>
                    </a:lnTo>
                    <a:lnTo>
                      <a:pt x="14" y="655"/>
                    </a:lnTo>
                    <a:lnTo>
                      <a:pt x="12" y="630"/>
                    </a:lnTo>
                    <a:lnTo>
                      <a:pt x="11" y="604"/>
                    </a:lnTo>
                    <a:lnTo>
                      <a:pt x="10" y="579"/>
                    </a:lnTo>
                    <a:lnTo>
                      <a:pt x="9" y="553"/>
                    </a:lnTo>
                    <a:lnTo>
                      <a:pt x="9" y="527"/>
                    </a:lnTo>
                    <a:lnTo>
                      <a:pt x="8" y="503"/>
                    </a:lnTo>
                    <a:lnTo>
                      <a:pt x="7" y="477"/>
                    </a:lnTo>
                    <a:lnTo>
                      <a:pt x="6" y="452"/>
                    </a:lnTo>
                    <a:lnTo>
                      <a:pt x="4" y="426"/>
                    </a:lnTo>
                    <a:lnTo>
                      <a:pt x="3" y="400"/>
                    </a:lnTo>
                    <a:lnTo>
                      <a:pt x="2" y="375"/>
                    </a:lnTo>
                    <a:lnTo>
                      <a:pt x="1" y="349"/>
                    </a:lnTo>
                    <a:lnTo>
                      <a:pt x="1" y="323"/>
                    </a:lnTo>
                    <a:lnTo>
                      <a:pt x="0" y="298"/>
                    </a:lnTo>
                    <a:lnTo>
                      <a:pt x="3" y="298"/>
                    </a:lnTo>
                    <a:lnTo>
                      <a:pt x="6" y="299"/>
                    </a:lnTo>
                    <a:lnTo>
                      <a:pt x="7" y="300"/>
                    </a:lnTo>
                    <a:lnTo>
                      <a:pt x="8" y="300"/>
                    </a:lnTo>
                    <a:lnTo>
                      <a:pt x="8" y="301"/>
                    </a:lnTo>
                    <a:lnTo>
                      <a:pt x="8" y="302"/>
                    </a:lnTo>
                    <a:lnTo>
                      <a:pt x="9" y="303"/>
                    </a:lnTo>
                    <a:lnTo>
                      <a:pt x="10" y="303"/>
                    </a:lnTo>
                    <a:lnTo>
                      <a:pt x="12" y="303"/>
                    </a:lnTo>
                    <a:lnTo>
                      <a:pt x="12" y="306"/>
                    </a:lnTo>
                    <a:lnTo>
                      <a:pt x="14" y="307"/>
                    </a:lnTo>
                    <a:lnTo>
                      <a:pt x="12" y="308"/>
                    </a:lnTo>
                    <a:lnTo>
                      <a:pt x="12" y="309"/>
                    </a:lnTo>
                    <a:lnTo>
                      <a:pt x="12" y="310"/>
                    </a:lnTo>
                    <a:lnTo>
                      <a:pt x="14" y="313"/>
                    </a:lnTo>
                    <a:lnTo>
                      <a:pt x="14" y="314"/>
                    </a:lnTo>
                    <a:lnTo>
                      <a:pt x="15" y="315"/>
                    </a:lnTo>
                    <a:lnTo>
                      <a:pt x="14" y="316"/>
                    </a:lnTo>
                    <a:lnTo>
                      <a:pt x="12" y="320"/>
                    </a:lnTo>
                    <a:lnTo>
                      <a:pt x="11" y="323"/>
                    </a:lnTo>
                    <a:lnTo>
                      <a:pt x="12" y="323"/>
                    </a:lnTo>
                    <a:lnTo>
                      <a:pt x="15" y="319"/>
                    </a:lnTo>
                    <a:lnTo>
                      <a:pt x="16" y="319"/>
                    </a:lnTo>
                    <a:lnTo>
                      <a:pt x="16" y="320"/>
                    </a:lnTo>
                    <a:lnTo>
                      <a:pt x="15" y="322"/>
                    </a:lnTo>
                    <a:lnTo>
                      <a:pt x="15" y="323"/>
                    </a:lnTo>
                    <a:lnTo>
                      <a:pt x="16" y="324"/>
                    </a:lnTo>
                    <a:lnTo>
                      <a:pt x="17" y="315"/>
                    </a:lnTo>
                    <a:lnTo>
                      <a:pt x="19" y="314"/>
                    </a:lnTo>
                    <a:lnTo>
                      <a:pt x="19" y="313"/>
                    </a:lnTo>
                    <a:lnTo>
                      <a:pt x="18" y="308"/>
                    </a:lnTo>
                    <a:lnTo>
                      <a:pt x="17" y="307"/>
                    </a:lnTo>
                    <a:lnTo>
                      <a:pt x="17" y="306"/>
                    </a:lnTo>
                    <a:lnTo>
                      <a:pt x="16" y="302"/>
                    </a:lnTo>
                    <a:lnTo>
                      <a:pt x="15" y="296"/>
                    </a:lnTo>
                    <a:lnTo>
                      <a:pt x="15" y="295"/>
                    </a:lnTo>
                    <a:lnTo>
                      <a:pt x="16" y="294"/>
                    </a:lnTo>
                    <a:lnTo>
                      <a:pt x="17" y="295"/>
                    </a:lnTo>
                    <a:lnTo>
                      <a:pt x="18" y="296"/>
                    </a:lnTo>
                    <a:lnTo>
                      <a:pt x="18" y="298"/>
                    </a:lnTo>
                    <a:lnTo>
                      <a:pt x="21" y="296"/>
                    </a:lnTo>
                    <a:lnTo>
                      <a:pt x="23" y="296"/>
                    </a:lnTo>
                    <a:lnTo>
                      <a:pt x="25" y="298"/>
                    </a:lnTo>
                    <a:lnTo>
                      <a:pt x="26" y="299"/>
                    </a:lnTo>
                    <a:lnTo>
                      <a:pt x="33" y="301"/>
                    </a:lnTo>
                    <a:lnTo>
                      <a:pt x="36" y="302"/>
                    </a:lnTo>
                    <a:lnTo>
                      <a:pt x="37" y="306"/>
                    </a:lnTo>
                    <a:lnTo>
                      <a:pt x="37" y="307"/>
                    </a:lnTo>
                    <a:lnTo>
                      <a:pt x="39" y="308"/>
                    </a:lnTo>
                    <a:lnTo>
                      <a:pt x="40" y="308"/>
                    </a:lnTo>
                    <a:lnTo>
                      <a:pt x="40" y="309"/>
                    </a:lnTo>
                    <a:lnTo>
                      <a:pt x="42" y="312"/>
                    </a:lnTo>
                    <a:lnTo>
                      <a:pt x="43" y="313"/>
                    </a:lnTo>
                    <a:lnTo>
                      <a:pt x="43" y="314"/>
                    </a:lnTo>
                    <a:lnTo>
                      <a:pt x="43" y="316"/>
                    </a:lnTo>
                    <a:lnTo>
                      <a:pt x="42" y="319"/>
                    </a:lnTo>
                    <a:lnTo>
                      <a:pt x="45" y="315"/>
                    </a:lnTo>
                    <a:lnTo>
                      <a:pt x="46" y="315"/>
                    </a:lnTo>
                    <a:lnTo>
                      <a:pt x="47" y="315"/>
                    </a:lnTo>
                    <a:lnTo>
                      <a:pt x="47" y="316"/>
                    </a:lnTo>
                    <a:lnTo>
                      <a:pt x="49" y="319"/>
                    </a:lnTo>
                    <a:lnTo>
                      <a:pt x="49" y="320"/>
                    </a:lnTo>
                    <a:lnTo>
                      <a:pt x="50" y="320"/>
                    </a:lnTo>
                    <a:lnTo>
                      <a:pt x="52" y="320"/>
                    </a:lnTo>
                    <a:lnTo>
                      <a:pt x="52" y="319"/>
                    </a:lnTo>
                    <a:lnTo>
                      <a:pt x="52" y="317"/>
                    </a:lnTo>
                    <a:lnTo>
                      <a:pt x="47" y="312"/>
                    </a:lnTo>
                    <a:lnTo>
                      <a:pt x="46" y="310"/>
                    </a:lnTo>
                    <a:lnTo>
                      <a:pt x="45" y="307"/>
                    </a:lnTo>
                    <a:lnTo>
                      <a:pt x="44" y="302"/>
                    </a:lnTo>
                    <a:lnTo>
                      <a:pt x="44" y="301"/>
                    </a:lnTo>
                    <a:lnTo>
                      <a:pt x="44" y="300"/>
                    </a:lnTo>
                    <a:lnTo>
                      <a:pt x="45" y="299"/>
                    </a:lnTo>
                    <a:lnTo>
                      <a:pt x="45" y="298"/>
                    </a:lnTo>
                    <a:lnTo>
                      <a:pt x="45" y="294"/>
                    </a:lnTo>
                    <a:lnTo>
                      <a:pt x="46" y="293"/>
                    </a:lnTo>
                    <a:lnTo>
                      <a:pt x="47" y="293"/>
                    </a:lnTo>
                    <a:lnTo>
                      <a:pt x="49" y="294"/>
                    </a:lnTo>
                    <a:lnTo>
                      <a:pt x="50" y="294"/>
                    </a:lnTo>
                    <a:lnTo>
                      <a:pt x="52" y="294"/>
                    </a:lnTo>
                    <a:lnTo>
                      <a:pt x="54" y="295"/>
                    </a:lnTo>
                    <a:lnTo>
                      <a:pt x="56" y="295"/>
                    </a:lnTo>
                    <a:lnTo>
                      <a:pt x="57" y="294"/>
                    </a:lnTo>
                    <a:lnTo>
                      <a:pt x="59" y="294"/>
                    </a:lnTo>
                    <a:lnTo>
                      <a:pt x="60" y="293"/>
                    </a:lnTo>
                    <a:lnTo>
                      <a:pt x="61" y="293"/>
                    </a:lnTo>
                    <a:lnTo>
                      <a:pt x="61" y="292"/>
                    </a:lnTo>
                    <a:lnTo>
                      <a:pt x="63" y="292"/>
                    </a:lnTo>
                    <a:lnTo>
                      <a:pt x="65" y="289"/>
                    </a:lnTo>
                    <a:lnTo>
                      <a:pt x="66" y="289"/>
                    </a:lnTo>
                    <a:lnTo>
                      <a:pt x="66" y="288"/>
                    </a:lnTo>
                    <a:lnTo>
                      <a:pt x="67" y="289"/>
                    </a:lnTo>
                    <a:lnTo>
                      <a:pt x="70" y="291"/>
                    </a:lnTo>
                    <a:lnTo>
                      <a:pt x="70" y="288"/>
                    </a:lnTo>
                    <a:lnTo>
                      <a:pt x="71" y="284"/>
                    </a:lnTo>
                    <a:lnTo>
                      <a:pt x="70" y="284"/>
                    </a:lnTo>
                    <a:lnTo>
                      <a:pt x="70" y="285"/>
                    </a:lnTo>
                    <a:lnTo>
                      <a:pt x="67" y="286"/>
                    </a:lnTo>
                    <a:lnTo>
                      <a:pt x="64" y="288"/>
                    </a:lnTo>
                    <a:lnTo>
                      <a:pt x="57" y="292"/>
                    </a:lnTo>
                    <a:lnTo>
                      <a:pt x="54" y="292"/>
                    </a:lnTo>
                    <a:lnTo>
                      <a:pt x="57" y="288"/>
                    </a:lnTo>
                    <a:lnTo>
                      <a:pt x="57" y="287"/>
                    </a:lnTo>
                    <a:lnTo>
                      <a:pt x="56" y="287"/>
                    </a:lnTo>
                    <a:lnTo>
                      <a:pt x="53" y="289"/>
                    </a:lnTo>
                    <a:lnTo>
                      <a:pt x="52" y="289"/>
                    </a:lnTo>
                    <a:lnTo>
                      <a:pt x="51" y="289"/>
                    </a:lnTo>
                    <a:lnTo>
                      <a:pt x="50" y="289"/>
                    </a:lnTo>
                    <a:lnTo>
                      <a:pt x="47" y="287"/>
                    </a:lnTo>
                    <a:lnTo>
                      <a:pt x="46" y="286"/>
                    </a:lnTo>
                    <a:lnTo>
                      <a:pt x="47" y="285"/>
                    </a:lnTo>
                    <a:lnTo>
                      <a:pt x="46" y="284"/>
                    </a:lnTo>
                    <a:lnTo>
                      <a:pt x="44" y="282"/>
                    </a:lnTo>
                    <a:lnTo>
                      <a:pt x="43" y="281"/>
                    </a:lnTo>
                    <a:lnTo>
                      <a:pt x="42" y="278"/>
                    </a:lnTo>
                    <a:lnTo>
                      <a:pt x="40" y="277"/>
                    </a:lnTo>
                    <a:lnTo>
                      <a:pt x="42" y="277"/>
                    </a:lnTo>
                    <a:lnTo>
                      <a:pt x="43" y="277"/>
                    </a:lnTo>
                    <a:lnTo>
                      <a:pt x="45" y="275"/>
                    </a:lnTo>
                    <a:lnTo>
                      <a:pt x="49" y="275"/>
                    </a:lnTo>
                    <a:lnTo>
                      <a:pt x="50" y="275"/>
                    </a:lnTo>
                    <a:lnTo>
                      <a:pt x="51" y="274"/>
                    </a:lnTo>
                    <a:lnTo>
                      <a:pt x="52" y="273"/>
                    </a:lnTo>
                    <a:lnTo>
                      <a:pt x="54" y="271"/>
                    </a:lnTo>
                    <a:lnTo>
                      <a:pt x="56" y="271"/>
                    </a:lnTo>
                    <a:lnTo>
                      <a:pt x="53" y="271"/>
                    </a:lnTo>
                    <a:lnTo>
                      <a:pt x="52" y="271"/>
                    </a:lnTo>
                    <a:lnTo>
                      <a:pt x="50" y="272"/>
                    </a:lnTo>
                    <a:lnTo>
                      <a:pt x="47" y="274"/>
                    </a:lnTo>
                    <a:lnTo>
                      <a:pt x="46" y="274"/>
                    </a:lnTo>
                    <a:lnTo>
                      <a:pt x="44" y="273"/>
                    </a:lnTo>
                    <a:lnTo>
                      <a:pt x="43" y="273"/>
                    </a:lnTo>
                    <a:lnTo>
                      <a:pt x="42" y="273"/>
                    </a:lnTo>
                    <a:lnTo>
                      <a:pt x="40" y="273"/>
                    </a:lnTo>
                    <a:lnTo>
                      <a:pt x="39" y="273"/>
                    </a:lnTo>
                    <a:lnTo>
                      <a:pt x="38" y="272"/>
                    </a:lnTo>
                    <a:lnTo>
                      <a:pt x="37" y="272"/>
                    </a:lnTo>
                    <a:lnTo>
                      <a:pt x="32" y="268"/>
                    </a:lnTo>
                    <a:lnTo>
                      <a:pt x="31" y="268"/>
                    </a:lnTo>
                    <a:lnTo>
                      <a:pt x="31" y="267"/>
                    </a:lnTo>
                    <a:lnTo>
                      <a:pt x="30" y="267"/>
                    </a:lnTo>
                    <a:lnTo>
                      <a:pt x="29" y="267"/>
                    </a:lnTo>
                    <a:lnTo>
                      <a:pt x="29" y="266"/>
                    </a:lnTo>
                    <a:lnTo>
                      <a:pt x="29" y="265"/>
                    </a:lnTo>
                    <a:lnTo>
                      <a:pt x="28" y="265"/>
                    </a:lnTo>
                    <a:lnTo>
                      <a:pt x="24" y="263"/>
                    </a:lnTo>
                    <a:lnTo>
                      <a:pt x="24" y="257"/>
                    </a:lnTo>
                    <a:lnTo>
                      <a:pt x="25" y="256"/>
                    </a:lnTo>
                    <a:lnTo>
                      <a:pt x="26" y="253"/>
                    </a:lnTo>
                    <a:lnTo>
                      <a:pt x="28" y="253"/>
                    </a:lnTo>
                    <a:lnTo>
                      <a:pt x="28" y="252"/>
                    </a:lnTo>
                    <a:lnTo>
                      <a:pt x="28" y="251"/>
                    </a:lnTo>
                    <a:lnTo>
                      <a:pt x="28" y="249"/>
                    </a:lnTo>
                    <a:lnTo>
                      <a:pt x="29" y="249"/>
                    </a:lnTo>
                    <a:lnTo>
                      <a:pt x="31" y="245"/>
                    </a:lnTo>
                    <a:lnTo>
                      <a:pt x="32" y="244"/>
                    </a:lnTo>
                    <a:lnTo>
                      <a:pt x="32" y="243"/>
                    </a:lnTo>
                    <a:lnTo>
                      <a:pt x="33" y="240"/>
                    </a:lnTo>
                    <a:lnTo>
                      <a:pt x="33" y="238"/>
                    </a:lnTo>
                    <a:lnTo>
                      <a:pt x="32" y="237"/>
                    </a:lnTo>
                    <a:lnTo>
                      <a:pt x="32" y="236"/>
                    </a:lnTo>
                    <a:lnTo>
                      <a:pt x="33" y="236"/>
                    </a:lnTo>
                    <a:lnTo>
                      <a:pt x="35" y="236"/>
                    </a:lnTo>
                    <a:lnTo>
                      <a:pt x="36" y="236"/>
                    </a:lnTo>
                    <a:lnTo>
                      <a:pt x="36" y="237"/>
                    </a:lnTo>
                    <a:lnTo>
                      <a:pt x="36" y="238"/>
                    </a:lnTo>
                    <a:lnTo>
                      <a:pt x="37" y="238"/>
                    </a:lnTo>
                    <a:lnTo>
                      <a:pt x="38" y="237"/>
                    </a:lnTo>
                    <a:lnTo>
                      <a:pt x="39" y="237"/>
                    </a:lnTo>
                    <a:lnTo>
                      <a:pt x="39" y="238"/>
                    </a:lnTo>
                    <a:lnTo>
                      <a:pt x="40" y="236"/>
                    </a:lnTo>
                    <a:lnTo>
                      <a:pt x="40" y="235"/>
                    </a:lnTo>
                    <a:lnTo>
                      <a:pt x="39" y="232"/>
                    </a:lnTo>
                    <a:lnTo>
                      <a:pt x="40" y="231"/>
                    </a:lnTo>
                    <a:lnTo>
                      <a:pt x="40" y="233"/>
                    </a:lnTo>
                    <a:lnTo>
                      <a:pt x="43" y="233"/>
                    </a:lnTo>
                    <a:lnTo>
                      <a:pt x="46" y="233"/>
                    </a:lnTo>
                    <a:lnTo>
                      <a:pt x="49" y="232"/>
                    </a:lnTo>
                    <a:lnTo>
                      <a:pt x="50" y="230"/>
                    </a:lnTo>
                    <a:lnTo>
                      <a:pt x="51" y="228"/>
                    </a:lnTo>
                    <a:lnTo>
                      <a:pt x="51" y="226"/>
                    </a:lnTo>
                    <a:lnTo>
                      <a:pt x="51" y="224"/>
                    </a:lnTo>
                    <a:lnTo>
                      <a:pt x="50" y="224"/>
                    </a:lnTo>
                    <a:lnTo>
                      <a:pt x="49" y="223"/>
                    </a:lnTo>
                    <a:lnTo>
                      <a:pt x="49" y="222"/>
                    </a:lnTo>
                    <a:lnTo>
                      <a:pt x="49" y="221"/>
                    </a:lnTo>
                    <a:lnTo>
                      <a:pt x="50" y="218"/>
                    </a:lnTo>
                    <a:lnTo>
                      <a:pt x="54" y="215"/>
                    </a:lnTo>
                    <a:lnTo>
                      <a:pt x="56" y="214"/>
                    </a:lnTo>
                    <a:lnTo>
                      <a:pt x="54" y="211"/>
                    </a:lnTo>
                    <a:lnTo>
                      <a:pt x="54" y="212"/>
                    </a:lnTo>
                    <a:lnTo>
                      <a:pt x="53" y="212"/>
                    </a:lnTo>
                    <a:lnTo>
                      <a:pt x="53" y="214"/>
                    </a:lnTo>
                    <a:lnTo>
                      <a:pt x="53" y="212"/>
                    </a:lnTo>
                    <a:lnTo>
                      <a:pt x="53" y="211"/>
                    </a:lnTo>
                    <a:lnTo>
                      <a:pt x="53" y="210"/>
                    </a:lnTo>
                    <a:lnTo>
                      <a:pt x="53" y="208"/>
                    </a:lnTo>
                    <a:lnTo>
                      <a:pt x="53" y="207"/>
                    </a:lnTo>
                    <a:lnTo>
                      <a:pt x="54" y="202"/>
                    </a:lnTo>
                    <a:lnTo>
                      <a:pt x="56" y="200"/>
                    </a:lnTo>
                    <a:lnTo>
                      <a:pt x="56" y="198"/>
                    </a:lnTo>
                    <a:lnTo>
                      <a:pt x="56" y="196"/>
                    </a:lnTo>
                    <a:lnTo>
                      <a:pt x="56" y="195"/>
                    </a:lnTo>
                    <a:lnTo>
                      <a:pt x="57" y="195"/>
                    </a:lnTo>
                    <a:lnTo>
                      <a:pt x="57" y="194"/>
                    </a:lnTo>
                    <a:lnTo>
                      <a:pt x="58" y="194"/>
                    </a:lnTo>
                    <a:lnTo>
                      <a:pt x="58" y="193"/>
                    </a:lnTo>
                    <a:lnTo>
                      <a:pt x="59" y="191"/>
                    </a:lnTo>
                    <a:lnTo>
                      <a:pt x="59" y="190"/>
                    </a:lnTo>
                    <a:lnTo>
                      <a:pt x="60" y="189"/>
                    </a:lnTo>
                    <a:lnTo>
                      <a:pt x="61" y="189"/>
                    </a:lnTo>
                    <a:lnTo>
                      <a:pt x="61" y="191"/>
                    </a:lnTo>
                    <a:lnTo>
                      <a:pt x="61" y="194"/>
                    </a:lnTo>
                    <a:lnTo>
                      <a:pt x="63" y="195"/>
                    </a:lnTo>
                    <a:lnTo>
                      <a:pt x="66" y="196"/>
                    </a:lnTo>
                    <a:lnTo>
                      <a:pt x="67" y="195"/>
                    </a:lnTo>
                    <a:lnTo>
                      <a:pt x="71" y="194"/>
                    </a:lnTo>
                    <a:lnTo>
                      <a:pt x="73" y="193"/>
                    </a:lnTo>
                    <a:lnTo>
                      <a:pt x="76" y="189"/>
                    </a:lnTo>
                    <a:lnTo>
                      <a:pt x="78" y="190"/>
                    </a:lnTo>
                    <a:lnTo>
                      <a:pt x="80" y="188"/>
                    </a:lnTo>
                    <a:lnTo>
                      <a:pt x="83" y="182"/>
                    </a:lnTo>
                    <a:lnTo>
                      <a:pt x="85" y="181"/>
                    </a:lnTo>
                    <a:lnTo>
                      <a:pt x="86" y="180"/>
                    </a:lnTo>
                    <a:lnTo>
                      <a:pt x="87" y="179"/>
                    </a:lnTo>
                    <a:lnTo>
                      <a:pt x="89" y="180"/>
                    </a:lnTo>
                    <a:lnTo>
                      <a:pt x="90" y="181"/>
                    </a:lnTo>
                    <a:lnTo>
                      <a:pt x="92" y="181"/>
                    </a:lnTo>
                    <a:lnTo>
                      <a:pt x="92" y="179"/>
                    </a:lnTo>
                    <a:lnTo>
                      <a:pt x="90" y="179"/>
                    </a:lnTo>
                    <a:lnTo>
                      <a:pt x="89" y="177"/>
                    </a:lnTo>
                    <a:lnTo>
                      <a:pt x="87" y="177"/>
                    </a:lnTo>
                    <a:lnTo>
                      <a:pt x="86" y="176"/>
                    </a:lnTo>
                    <a:lnTo>
                      <a:pt x="85" y="176"/>
                    </a:lnTo>
                    <a:lnTo>
                      <a:pt x="85" y="175"/>
                    </a:lnTo>
                    <a:lnTo>
                      <a:pt x="83" y="173"/>
                    </a:lnTo>
                    <a:lnTo>
                      <a:pt x="79" y="168"/>
                    </a:lnTo>
                    <a:lnTo>
                      <a:pt x="76" y="168"/>
                    </a:lnTo>
                    <a:lnTo>
                      <a:pt x="75" y="167"/>
                    </a:lnTo>
                    <a:lnTo>
                      <a:pt x="75" y="159"/>
                    </a:lnTo>
                    <a:lnTo>
                      <a:pt x="75" y="158"/>
                    </a:lnTo>
                    <a:lnTo>
                      <a:pt x="76" y="158"/>
                    </a:lnTo>
                    <a:lnTo>
                      <a:pt x="76" y="155"/>
                    </a:lnTo>
                    <a:lnTo>
                      <a:pt x="76" y="153"/>
                    </a:lnTo>
                    <a:lnTo>
                      <a:pt x="76" y="152"/>
                    </a:lnTo>
                    <a:lnTo>
                      <a:pt x="78" y="149"/>
                    </a:lnTo>
                    <a:lnTo>
                      <a:pt x="79" y="149"/>
                    </a:lnTo>
                    <a:lnTo>
                      <a:pt x="80" y="148"/>
                    </a:lnTo>
                    <a:lnTo>
                      <a:pt x="81" y="149"/>
                    </a:lnTo>
                    <a:lnTo>
                      <a:pt x="81" y="151"/>
                    </a:lnTo>
                    <a:lnTo>
                      <a:pt x="83" y="152"/>
                    </a:lnTo>
                    <a:lnTo>
                      <a:pt x="85" y="151"/>
                    </a:lnTo>
                    <a:lnTo>
                      <a:pt x="87" y="149"/>
                    </a:lnTo>
                    <a:lnTo>
                      <a:pt x="88" y="149"/>
                    </a:lnTo>
                    <a:lnTo>
                      <a:pt x="89" y="148"/>
                    </a:lnTo>
                    <a:lnTo>
                      <a:pt x="90" y="147"/>
                    </a:lnTo>
                    <a:lnTo>
                      <a:pt x="92" y="145"/>
                    </a:lnTo>
                    <a:lnTo>
                      <a:pt x="92" y="144"/>
                    </a:lnTo>
                    <a:lnTo>
                      <a:pt x="92" y="139"/>
                    </a:lnTo>
                    <a:lnTo>
                      <a:pt x="93" y="137"/>
                    </a:lnTo>
                    <a:lnTo>
                      <a:pt x="92" y="135"/>
                    </a:lnTo>
                    <a:lnTo>
                      <a:pt x="92" y="134"/>
                    </a:lnTo>
                    <a:lnTo>
                      <a:pt x="92" y="133"/>
                    </a:lnTo>
                    <a:lnTo>
                      <a:pt x="92" y="131"/>
                    </a:lnTo>
                    <a:lnTo>
                      <a:pt x="93" y="131"/>
                    </a:lnTo>
                    <a:lnTo>
                      <a:pt x="94" y="132"/>
                    </a:lnTo>
                    <a:lnTo>
                      <a:pt x="95" y="132"/>
                    </a:lnTo>
                    <a:lnTo>
                      <a:pt x="95" y="131"/>
                    </a:lnTo>
                    <a:lnTo>
                      <a:pt x="95" y="130"/>
                    </a:lnTo>
                    <a:lnTo>
                      <a:pt x="96" y="128"/>
                    </a:lnTo>
                    <a:lnTo>
                      <a:pt x="97" y="127"/>
                    </a:lnTo>
                    <a:lnTo>
                      <a:pt x="99" y="127"/>
                    </a:lnTo>
                    <a:lnTo>
                      <a:pt x="100" y="127"/>
                    </a:lnTo>
                    <a:lnTo>
                      <a:pt x="102" y="128"/>
                    </a:lnTo>
                    <a:lnTo>
                      <a:pt x="103" y="130"/>
                    </a:lnTo>
                    <a:lnTo>
                      <a:pt x="102" y="127"/>
                    </a:lnTo>
                    <a:lnTo>
                      <a:pt x="102" y="126"/>
                    </a:lnTo>
                    <a:lnTo>
                      <a:pt x="102" y="125"/>
                    </a:lnTo>
                    <a:lnTo>
                      <a:pt x="103" y="125"/>
                    </a:lnTo>
                    <a:lnTo>
                      <a:pt x="107" y="131"/>
                    </a:lnTo>
                    <a:lnTo>
                      <a:pt x="108" y="132"/>
                    </a:lnTo>
                    <a:lnTo>
                      <a:pt x="109" y="132"/>
                    </a:lnTo>
                    <a:lnTo>
                      <a:pt x="109" y="133"/>
                    </a:lnTo>
                    <a:lnTo>
                      <a:pt x="110" y="133"/>
                    </a:lnTo>
                    <a:lnTo>
                      <a:pt x="111" y="133"/>
                    </a:lnTo>
                    <a:lnTo>
                      <a:pt x="113" y="133"/>
                    </a:lnTo>
                    <a:lnTo>
                      <a:pt x="113" y="132"/>
                    </a:lnTo>
                    <a:lnTo>
                      <a:pt x="114" y="133"/>
                    </a:lnTo>
                    <a:lnTo>
                      <a:pt x="115" y="133"/>
                    </a:lnTo>
                    <a:lnTo>
                      <a:pt x="116" y="133"/>
                    </a:lnTo>
                    <a:lnTo>
                      <a:pt x="117" y="132"/>
                    </a:lnTo>
                    <a:lnTo>
                      <a:pt x="110" y="130"/>
                    </a:lnTo>
                    <a:lnTo>
                      <a:pt x="111" y="130"/>
                    </a:lnTo>
                    <a:lnTo>
                      <a:pt x="110" y="131"/>
                    </a:lnTo>
                    <a:lnTo>
                      <a:pt x="109" y="131"/>
                    </a:lnTo>
                    <a:lnTo>
                      <a:pt x="109" y="130"/>
                    </a:lnTo>
                    <a:lnTo>
                      <a:pt x="108" y="128"/>
                    </a:lnTo>
                    <a:lnTo>
                      <a:pt x="108" y="127"/>
                    </a:lnTo>
                    <a:lnTo>
                      <a:pt x="107" y="127"/>
                    </a:lnTo>
                    <a:lnTo>
                      <a:pt x="108" y="126"/>
                    </a:lnTo>
                    <a:lnTo>
                      <a:pt x="109" y="126"/>
                    </a:lnTo>
                    <a:lnTo>
                      <a:pt x="110" y="126"/>
                    </a:lnTo>
                    <a:lnTo>
                      <a:pt x="111" y="126"/>
                    </a:lnTo>
                    <a:lnTo>
                      <a:pt x="111" y="125"/>
                    </a:lnTo>
                    <a:lnTo>
                      <a:pt x="110" y="125"/>
                    </a:lnTo>
                    <a:lnTo>
                      <a:pt x="110" y="124"/>
                    </a:lnTo>
                    <a:lnTo>
                      <a:pt x="108" y="124"/>
                    </a:lnTo>
                    <a:lnTo>
                      <a:pt x="108" y="123"/>
                    </a:lnTo>
                    <a:lnTo>
                      <a:pt x="110" y="118"/>
                    </a:lnTo>
                    <a:lnTo>
                      <a:pt x="110" y="117"/>
                    </a:lnTo>
                    <a:lnTo>
                      <a:pt x="109" y="114"/>
                    </a:lnTo>
                    <a:lnTo>
                      <a:pt x="109" y="113"/>
                    </a:lnTo>
                    <a:lnTo>
                      <a:pt x="110" y="113"/>
                    </a:lnTo>
                    <a:lnTo>
                      <a:pt x="110" y="112"/>
                    </a:lnTo>
                    <a:lnTo>
                      <a:pt x="109" y="111"/>
                    </a:lnTo>
                    <a:lnTo>
                      <a:pt x="108" y="111"/>
                    </a:lnTo>
                    <a:lnTo>
                      <a:pt x="108" y="110"/>
                    </a:lnTo>
                    <a:lnTo>
                      <a:pt x="109" y="109"/>
                    </a:lnTo>
                    <a:lnTo>
                      <a:pt x="113" y="109"/>
                    </a:lnTo>
                    <a:lnTo>
                      <a:pt x="115" y="110"/>
                    </a:lnTo>
                    <a:lnTo>
                      <a:pt x="116" y="111"/>
                    </a:lnTo>
                    <a:lnTo>
                      <a:pt x="117" y="111"/>
                    </a:lnTo>
                    <a:lnTo>
                      <a:pt x="120" y="111"/>
                    </a:lnTo>
                    <a:lnTo>
                      <a:pt x="122" y="111"/>
                    </a:lnTo>
                    <a:lnTo>
                      <a:pt x="123" y="112"/>
                    </a:lnTo>
                    <a:lnTo>
                      <a:pt x="122" y="113"/>
                    </a:lnTo>
                    <a:lnTo>
                      <a:pt x="122" y="114"/>
                    </a:lnTo>
                    <a:lnTo>
                      <a:pt x="123" y="117"/>
                    </a:lnTo>
                    <a:lnTo>
                      <a:pt x="123" y="121"/>
                    </a:lnTo>
                    <a:lnTo>
                      <a:pt x="123" y="124"/>
                    </a:lnTo>
                    <a:lnTo>
                      <a:pt x="124" y="123"/>
                    </a:lnTo>
                    <a:lnTo>
                      <a:pt x="124" y="121"/>
                    </a:lnTo>
                    <a:lnTo>
                      <a:pt x="124" y="120"/>
                    </a:lnTo>
                    <a:lnTo>
                      <a:pt x="125" y="120"/>
                    </a:lnTo>
                    <a:lnTo>
                      <a:pt x="128" y="121"/>
                    </a:lnTo>
                    <a:lnTo>
                      <a:pt x="130" y="126"/>
                    </a:lnTo>
                    <a:lnTo>
                      <a:pt x="131" y="127"/>
                    </a:lnTo>
                    <a:lnTo>
                      <a:pt x="131" y="126"/>
                    </a:lnTo>
                    <a:lnTo>
                      <a:pt x="131" y="125"/>
                    </a:lnTo>
                    <a:lnTo>
                      <a:pt x="132" y="124"/>
                    </a:lnTo>
                    <a:lnTo>
                      <a:pt x="134" y="125"/>
                    </a:lnTo>
                    <a:lnTo>
                      <a:pt x="137" y="126"/>
                    </a:lnTo>
                    <a:lnTo>
                      <a:pt x="136" y="124"/>
                    </a:lnTo>
                    <a:lnTo>
                      <a:pt x="134" y="123"/>
                    </a:lnTo>
                    <a:lnTo>
                      <a:pt x="132" y="121"/>
                    </a:lnTo>
                    <a:lnTo>
                      <a:pt x="130" y="120"/>
                    </a:lnTo>
                    <a:lnTo>
                      <a:pt x="130" y="119"/>
                    </a:lnTo>
                    <a:lnTo>
                      <a:pt x="130" y="118"/>
                    </a:lnTo>
                    <a:lnTo>
                      <a:pt x="131" y="118"/>
                    </a:lnTo>
                    <a:lnTo>
                      <a:pt x="132" y="118"/>
                    </a:lnTo>
                    <a:lnTo>
                      <a:pt x="135" y="119"/>
                    </a:lnTo>
                    <a:lnTo>
                      <a:pt x="137" y="119"/>
                    </a:lnTo>
                    <a:lnTo>
                      <a:pt x="136" y="118"/>
                    </a:lnTo>
                    <a:lnTo>
                      <a:pt x="136" y="117"/>
                    </a:lnTo>
                    <a:lnTo>
                      <a:pt x="134" y="116"/>
                    </a:lnTo>
                    <a:lnTo>
                      <a:pt x="131" y="116"/>
                    </a:lnTo>
                    <a:lnTo>
                      <a:pt x="131" y="114"/>
                    </a:lnTo>
                    <a:lnTo>
                      <a:pt x="130" y="113"/>
                    </a:lnTo>
                    <a:lnTo>
                      <a:pt x="129" y="113"/>
                    </a:lnTo>
                    <a:lnTo>
                      <a:pt x="128" y="113"/>
                    </a:lnTo>
                    <a:lnTo>
                      <a:pt x="128" y="114"/>
                    </a:lnTo>
                    <a:lnTo>
                      <a:pt x="125" y="113"/>
                    </a:lnTo>
                    <a:lnTo>
                      <a:pt x="125" y="112"/>
                    </a:lnTo>
                    <a:lnTo>
                      <a:pt x="127" y="111"/>
                    </a:lnTo>
                    <a:lnTo>
                      <a:pt x="125" y="110"/>
                    </a:lnTo>
                    <a:lnTo>
                      <a:pt x="128" y="109"/>
                    </a:lnTo>
                    <a:lnTo>
                      <a:pt x="128" y="107"/>
                    </a:lnTo>
                    <a:lnTo>
                      <a:pt x="130" y="106"/>
                    </a:lnTo>
                    <a:lnTo>
                      <a:pt x="131" y="105"/>
                    </a:lnTo>
                    <a:lnTo>
                      <a:pt x="131" y="104"/>
                    </a:lnTo>
                    <a:lnTo>
                      <a:pt x="132" y="104"/>
                    </a:lnTo>
                    <a:lnTo>
                      <a:pt x="132" y="105"/>
                    </a:lnTo>
                    <a:lnTo>
                      <a:pt x="134" y="105"/>
                    </a:lnTo>
                    <a:lnTo>
                      <a:pt x="140" y="106"/>
                    </a:lnTo>
                    <a:lnTo>
                      <a:pt x="143" y="107"/>
                    </a:lnTo>
                    <a:lnTo>
                      <a:pt x="143" y="106"/>
                    </a:lnTo>
                    <a:lnTo>
                      <a:pt x="142" y="105"/>
                    </a:lnTo>
                    <a:lnTo>
                      <a:pt x="140" y="103"/>
                    </a:lnTo>
                    <a:lnTo>
                      <a:pt x="140" y="102"/>
                    </a:lnTo>
                    <a:lnTo>
                      <a:pt x="140" y="98"/>
                    </a:lnTo>
                    <a:lnTo>
                      <a:pt x="140" y="97"/>
                    </a:lnTo>
                    <a:lnTo>
                      <a:pt x="138" y="95"/>
                    </a:lnTo>
                    <a:lnTo>
                      <a:pt x="138" y="93"/>
                    </a:lnTo>
                    <a:lnTo>
                      <a:pt x="138" y="92"/>
                    </a:lnTo>
                    <a:lnTo>
                      <a:pt x="139" y="91"/>
                    </a:lnTo>
                    <a:lnTo>
                      <a:pt x="140" y="90"/>
                    </a:lnTo>
                    <a:lnTo>
                      <a:pt x="142" y="90"/>
                    </a:lnTo>
                    <a:lnTo>
                      <a:pt x="143" y="91"/>
                    </a:lnTo>
                    <a:lnTo>
                      <a:pt x="144" y="92"/>
                    </a:lnTo>
                    <a:lnTo>
                      <a:pt x="144" y="91"/>
                    </a:lnTo>
                    <a:lnTo>
                      <a:pt x="145" y="90"/>
                    </a:lnTo>
                    <a:lnTo>
                      <a:pt x="146" y="90"/>
                    </a:lnTo>
                    <a:lnTo>
                      <a:pt x="146" y="91"/>
                    </a:lnTo>
                    <a:lnTo>
                      <a:pt x="147" y="92"/>
                    </a:lnTo>
                    <a:lnTo>
                      <a:pt x="149" y="92"/>
                    </a:lnTo>
                    <a:lnTo>
                      <a:pt x="150" y="92"/>
                    </a:lnTo>
                    <a:lnTo>
                      <a:pt x="152" y="95"/>
                    </a:lnTo>
                    <a:lnTo>
                      <a:pt x="153" y="95"/>
                    </a:lnTo>
                    <a:lnTo>
                      <a:pt x="154" y="95"/>
                    </a:lnTo>
                    <a:lnTo>
                      <a:pt x="154" y="96"/>
                    </a:lnTo>
                    <a:lnTo>
                      <a:pt x="156" y="97"/>
                    </a:lnTo>
                    <a:lnTo>
                      <a:pt x="157" y="97"/>
                    </a:lnTo>
                    <a:lnTo>
                      <a:pt x="156" y="95"/>
                    </a:lnTo>
                    <a:lnTo>
                      <a:pt x="156" y="93"/>
                    </a:lnTo>
                    <a:lnTo>
                      <a:pt x="157" y="92"/>
                    </a:lnTo>
                    <a:lnTo>
                      <a:pt x="157" y="91"/>
                    </a:lnTo>
                    <a:lnTo>
                      <a:pt x="157" y="90"/>
                    </a:lnTo>
                    <a:lnTo>
                      <a:pt x="157" y="89"/>
                    </a:lnTo>
                    <a:lnTo>
                      <a:pt x="158" y="86"/>
                    </a:lnTo>
                    <a:lnTo>
                      <a:pt x="158" y="84"/>
                    </a:lnTo>
                    <a:lnTo>
                      <a:pt x="158" y="83"/>
                    </a:lnTo>
                    <a:lnTo>
                      <a:pt x="159" y="83"/>
                    </a:lnTo>
                    <a:lnTo>
                      <a:pt x="159" y="82"/>
                    </a:lnTo>
                    <a:lnTo>
                      <a:pt x="160" y="83"/>
                    </a:lnTo>
                    <a:lnTo>
                      <a:pt x="160" y="84"/>
                    </a:lnTo>
                    <a:lnTo>
                      <a:pt x="161" y="85"/>
                    </a:lnTo>
                    <a:lnTo>
                      <a:pt x="161" y="86"/>
                    </a:lnTo>
                    <a:lnTo>
                      <a:pt x="161" y="89"/>
                    </a:lnTo>
                    <a:lnTo>
                      <a:pt x="163" y="92"/>
                    </a:lnTo>
                    <a:lnTo>
                      <a:pt x="164" y="96"/>
                    </a:lnTo>
                    <a:lnTo>
                      <a:pt x="166" y="97"/>
                    </a:lnTo>
                    <a:lnTo>
                      <a:pt x="168" y="99"/>
                    </a:lnTo>
                    <a:lnTo>
                      <a:pt x="170" y="99"/>
                    </a:lnTo>
                    <a:lnTo>
                      <a:pt x="171" y="100"/>
                    </a:lnTo>
                    <a:lnTo>
                      <a:pt x="173" y="100"/>
                    </a:lnTo>
                    <a:lnTo>
                      <a:pt x="174" y="100"/>
                    </a:lnTo>
                    <a:lnTo>
                      <a:pt x="177" y="100"/>
                    </a:lnTo>
                    <a:lnTo>
                      <a:pt x="179" y="99"/>
                    </a:lnTo>
                    <a:lnTo>
                      <a:pt x="181" y="99"/>
                    </a:lnTo>
                    <a:lnTo>
                      <a:pt x="181" y="100"/>
                    </a:lnTo>
                    <a:lnTo>
                      <a:pt x="184" y="100"/>
                    </a:lnTo>
                    <a:lnTo>
                      <a:pt x="191" y="99"/>
                    </a:lnTo>
                    <a:lnTo>
                      <a:pt x="196" y="98"/>
                    </a:lnTo>
                    <a:lnTo>
                      <a:pt x="199" y="97"/>
                    </a:lnTo>
                    <a:lnTo>
                      <a:pt x="200" y="97"/>
                    </a:lnTo>
                    <a:lnTo>
                      <a:pt x="202" y="95"/>
                    </a:lnTo>
                    <a:lnTo>
                      <a:pt x="203" y="95"/>
                    </a:lnTo>
                    <a:lnTo>
                      <a:pt x="204" y="95"/>
                    </a:lnTo>
                    <a:lnTo>
                      <a:pt x="204" y="96"/>
                    </a:lnTo>
                    <a:lnTo>
                      <a:pt x="206" y="97"/>
                    </a:lnTo>
                    <a:lnTo>
                      <a:pt x="207" y="98"/>
                    </a:lnTo>
                    <a:lnTo>
                      <a:pt x="210" y="98"/>
                    </a:lnTo>
                    <a:lnTo>
                      <a:pt x="211" y="99"/>
                    </a:lnTo>
                    <a:lnTo>
                      <a:pt x="214" y="100"/>
                    </a:lnTo>
                    <a:lnTo>
                      <a:pt x="215" y="100"/>
                    </a:lnTo>
                    <a:lnTo>
                      <a:pt x="216" y="100"/>
                    </a:lnTo>
                    <a:lnTo>
                      <a:pt x="217" y="100"/>
                    </a:lnTo>
                    <a:lnTo>
                      <a:pt x="220" y="98"/>
                    </a:lnTo>
                    <a:lnTo>
                      <a:pt x="223" y="96"/>
                    </a:lnTo>
                    <a:lnTo>
                      <a:pt x="224" y="95"/>
                    </a:lnTo>
                    <a:lnTo>
                      <a:pt x="228" y="93"/>
                    </a:lnTo>
                    <a:lnTo>
                      <a:pt x="228" y="92"/>
                    </a:lnTo>
                    <a:lnTo>
                      <a:pt x="229" y="90"/>
                    </a:lnTo>
                    <a:lnTo>
                      <a:pt x="230" y="89"/>
                    </a:lnTo>
                    <a:lnTo>
                      <a:pt x="231" y="90"/>
                    </a:lnTo>
                    <a:lnTo>
                      <a:pt x="231" y="91"/>
                    </a:lnTo>
                    <a:lnTo>
                      <a:pt x="231" y="92"/>
                    </a:lnTo>
                    <a:lnTo>
                      <a:pt x="232" y="95"/>
                    </a:lnTo>
                    <a:lnTo>
                      <a:pt x="234" y="95"/>
                    </a:lnTo>
                    <a:lnTo>
                      <a:pt x="235" y="93"/>
                    </a:lnTo>
                    <a:lnTo>
                      <a:pt x="237" y="92"/>
                    </a:lnTo>
                    <a:lnTo>
                      <a:pt x="238" y="92"/>
                    </a:lnTo>
                    <a:lnTo>
                      <a:pt x="239" y="93"/>
                    </a:lnTo>
                    <a:lnTo>
                      <a:pt x="242" y="98"/>
                    </a:lnTo>
                    <a:lnTo>
                      <a:pt x="242" y="99"/>
                    </a:lnTo>
                    <a:lnTo>
                      <a:pt x="243" y="99"/>
                    </a:lnTo>
                    <a:lnTo>
                      <a:pt x="243" y="100"/>
                    </a:lnTo>
                    <a:lnTo>
                      <a:pt x="242" y="102"/>
                    </a:lnTo>
                    <a:lnTo>
                      <a:pt x="241" y="103"/>
                    </a:lnTo>
                    <a:lnTo>
                      <a:pt x="241" y="104"/>
                    </a:lnTo>
                    <a:lnTo>
                      <a:pt x="241" y="106"/>
                    </a:lnTo>
                    <a:lnTo>
                      <a:pt x="242" y="104"/>
                    </a:lnTo>
                    <a:lnTo>
                      <a:pt x="243" y="102"/>
                    </a:lnTo>
                    <a:lnTo>
                      <a:pt x="244" y="100"/>
                    </a:lnTo>
                    <a:lnTo>
                      <a:pt x="243" y="95"/>
                    </a:lnTo>
                    <a:lnTo>
                      <a:pt x="243" y="91"/>
                    </a:lnTo>
                    <a:lnTo>
                      <a:pt x="244" y="89"/>
                    </a:lnTo>
                    <a:lnTo>
                      <a:pt x="245" y="88"/>
                    </a:lnTo>
                    <a:lnTo>
                      <a:pt x="248" y="88"/>
                    </a:lnTo>
                    <a:lnTo>
                      <a:pt x="251" y="85"/>
                    </a:lnTo>
                    <a:lnTo>
                      <a:pt x="253" y="84"/>
                    </a:lnTo>
                    <a:lnTo>
                      <a:pt x="256" y="85"/>
                    </a:lnTo>
                    <a:lnTo>
                      <a:pt x="258" y="86"/>
                    </a:lnTo>
                    <a:lnTo>
                      <a:pt x="262" y="88"/>
                    </a:lnTo>
                    <a:lnTo>
                      <a:pt x="264" y="88"/>
                    </a:lnTo>
                    <a:lnTo>
                      <a:pt x="267" y="88"/>
                    </a:lnTo>
                    <a:lnTo>
                      <a:pt x="266" y="86"/>
                    </a:lnTo>
                    <a:lnTo>
                      <a:pt x="265" y="86"/>
                    </a:lnTo>
                    <a:lnTo>
                      <a:pt x="264" y="86"/>
                    </a:lnTo>
                    <a:lnTo>
                      <a:pt x="263" y="85"/>
                    </a:lnTo>
                    <a:lnTo>
                      <a:pt x="262" y="85"/>
                    </a:lnTo>
                    <a:lnTo>
                      <a:pt x="259" y="83"/>
                    </a:lnTo>
                    <a:lnTo>
                      <a:pt x="258" y="82"/>
                    </a:lnTo>
                    <a:lnTo>
                      <a:pt x="258" y="81"/>
                    </a:lnTo>
                    <a:lnTo>
                      <a:pt x="257" y="77"/>
                    </a:lnTo>
                    <a:lnTo>
                      <a:pt x="259" y="67"/>
                    </a:lnTo>
                    <a:lnTo>
                      <a:pt x="259" y="65"/>
                    </a:lnTo>
                    <a:lnTo>
                      <a:pt x="259" y="64"/>
                    </a:lnTo>
                    <a:lnTo>
                      <a:pt x="258" y="63"/>
                    </a:lnTo>
                    <a:lnTo>
                      <a:pt x="256" y="62"/>
                    </a:lnTo>
                    <a:lnTo>
                      <a:pt x="255" y="61"/>
                    </a:lnTo>
                    <a:lnTo>
                      <a:pt x="256" y="60"/>
                    </a:lnTo>
                    <a:lnTo>
                      <a:pt x="258" y="57"/>
                    </a:lnTo>
                    <a:lnTo>
                      <a:pt x="259" y="55"/>
                    </a:lnTo>
                    <a:lnTo>
                      <a:pt x="260" y="53"/>
                    </a:lnTo>
                    <a:lnTo>
                      <a:pt x="263" y="51"/>
                    </a:lnTo>
                    <a:lnTo>
                      <a:pt x="259" y="50"/>
                    </a:lnTo>
                    <a:lnTo>
                      <a:pt x="256" y="49"/>
                    </a:lnTo>
                    <a:lnTo>
                      <a:pt x="255" y="49"/>
                    </a:lnTo>
                    <a:lnTo>
                      <a:pt x="253" y="48"/>
                    </a:lnTo>
                    <a:lnTo>
                      <a:pt x="252" y="47"/>
                    </a:lnTo>
                    <a:lnTo>
                      <a:pt x="251" y="46"/>
                    </a:lnTo>
                    <a:lnTo>
                      <a:pt x="252" y="44"/>
                    </a:lnTo>
                    <a:lnTo>
                      <a:pt x="251" y="43"/>
                    </a:lnTo>
                    <a:lnTo>
                      <a:pt x="250" y="43"/>
                    </a:lnTo>
                    <a:lnTo>
                      <a:pt x="250" y="42"/>
                    </a:lnTo>
                    <a:lnTo>
                      <a:pt x="250" y="41"/>
                    </a:lnTo>
                    <a:lnTo>
                      <a:pt x="249" y="41"/>
                    </a:lnTo>
                    <a:lnTo>
                      <a:pt x="248" y="39"/>
                    </a:lnTo>
                    <a:lnTo>
                      <a:pt x="243" y="36"/>
                    </a:lnTo>
                    <a:lnTo>
                      <a:pt x="242" y="35"/>
                    </a:lnTo>
                    <a:lnTo>
                      <a:pt x="238" y="35"/>
                    </a:lnTo>
                    <a:lnTo>
                      <a:pt x="236" y="35"/>
                    </a:lnTo>
                    <a:lnTo>
                      <a:pt x="234" y="37"/>
                    </a:lnTo>
                    <a:lnTo>
                      <a:pt x="232" y="37"/>
                    </a:lnTo>
                    <a:lnTo>
                      <a:pt x="230" y="36"/>
                    </a:lnTo>
                    <a:lnTo>
                      <a:pt x="229" y="36"/>
                    </a:lnTo>
                    <a:lnTo>
                      <a:pt x="228" y="37"/>
                    </a:lnTo>
                    <a:lnTo>
                      <a:pt x="227" y="37"/>
                    </a:lnTo>
                    <a:lnTo>
                      <a:pt x="227" y="39"/>
                    </a:lnTo>
                    <a:lnTo>
                      <a:pt x="225" y="39"/>
                    </a:lnTo>
                    <a:lnTo>
                      <a:pt x="225" y="40"/>
                    </a:lnTo>
                    <a:lnTo>
                      <a:pt x="224" y="40"/>
                    </a:lnTo>
                    <a:lnTo>
                      <a:pt x="224" y="39"/>
                    </a:lnTo>
                    <a:lnTo>
                      <a:pt x="223" y="39"/>
                    </a:lnTo>
                    <a:lnTo>
                      <a:pt x="221" y="41"/>
                    </a:lnTo>
                    <a:lnTo>
                      <a:pt x="220" y="42"/>
                    </a:lnTo>
                    <a:lnTo>
                      <a:pt x="218" y="42"/>
                    </a:lnTo>
                    <a:lnTo>
                      <a:pt x="217" y="42"/>
                    </a:lnTo>
                    <a:lnTo>
                      <a:pt x="216" y="41"/>
                    </a:lnTo>
                    <a:lnTo>
                      <a:pt x="215" y="40"/>
                    </a:lnTo>
                    <a:lnTo>
                      <a:pt x="214" y="40"/>
                    </a:lnTo>
                    <a:lnTo>
                      <a:pt x="214" y="39"/>
                    </a:lnTo>
                    <a:lnTo>
                      <a:pt x="213" y="37"/>
                    </a:lnTo>
                    <a:lnTo>
                      <a:pt x="213" y="36"/>
                    </a:lnTo>
                    <a:lnTo>
                      <a:pt x="214" y="36"/>
                    </a:lnTo>
                    <a:lnTo>
                      <a:pt x="215" y="36"/>
                    </a:lnTo>
                    <a:lnTo>
                      <a:pt x="215" y="35"/>
                    </a:lnTo>
                    <a:lnTo>
                      <a:pt x="214" y="34"/>
                    </a:lnTo>
                    <a:lnTo>
                      <a:pt x="211" y="35"/>
                    </a:lnTo>
                    <a:lnTo>
                      <a:pt x="210" y="35"/>
                    </a:lnTo>
                    <a:lnTo>
                      <a:pt x="209" y="33"/>
                    </a:lnTo>
                    <a:lnTo>
                      <a:pt x="208" y="34"/>
                    </a:lnTo>
                    <a:lnTo>
                      <a:pt x="207" y="33"/>
                    </a:lnTo>
                    <a:lnTo>
                      <a:pt x="207" y="32"/>
                    </a:lnTo>
                    <a:lnTo>
                      <a:pt x="208" y="30"/>
                    </a:lnTo>
                    <a:lnTo>
                      <a:pt x="209" y="30"/>
                    </a:lnTo>
                    <a:lnTo>
                      <a:pt x="209" y="29"/>
                    </a:lnTo>
                    <a:lnTo>
                      <a:pt x="208" y="29"/>
                    </a:lnTo>
                    <a:lnTo>
                      <a:pt x="206" y="29"/>
                    </a:lnTo>
                    <a:lnTo>
                      <a:pt x="204" y="28"/>
                    </a:lnTo>
                    <a:lnTo>
                      <a:pt x="204" y="27"/>
                    </a:lnTo>
                    <a:lnTo>
                      <a:pt x="203" y="27"/>
                    </a:lnTo>
                    <a:lnTo>
                      <a:pt x="201" y="26"/>
                    </a:lnTo>
                    <a:lnTo>
                      <a:pt x="200" y="26"/>
                    </a:lnTo>
                    <a:lnTo>
                      <a:pt x="199" y="26"/>
                    </a:lnTo>
                    <a:lnTo>
                      <a:pt x="198" y="27"/>
                    </a:lnTo>
                    <a:lnTo>
                      <a:pt x="196" y="27"/>
                    </a:lnTo>
                    <a:lnTo>
                      <a:pt x="193" y="27"/>
                    </a:lnTo>
                    <a:lnTo>
                      <a:pt x="193" y="26"/>
                    </a:lnTo>
                    <a:lnTo>
                      <a:pt x="194" y="26"/>
                    </a:lnTo>
                    <a:lnTo>
                      <a:pt x="195" y="25"/>
                    </a:lnTo>
                    <a:lnTo>
                      <a:pt x="196" y="25"/>
                    </a:lnTo>
                    <a:lnTo>
                      <a:pt x="195" y="23"/>
                    </a:lnTo>
                    <a:lnTo>
                      <a:pt x="198" y="23"/>
                    </a:lnTo>
                    <a:lnTo>
                      <a:pt x="199" y="23"/>
                    </a:lnTo>
                    <a:lnTo>
                      <a:pt x="199" y="22"/>
                    </a:lnTo>
                    <a:lnTo>
                      <a:pt x="199" y="21"/>
                    </a:lnTo>
                    <a:lnTo>
                      <a:pt x="198" y="20"/>
                    </a:lnTo>
                    <a:lnTo>
                      <a:pt x="198" y="19"/>
                    </a:lnTo>
                    <a:lnTo>
                      <a:pt x="199" y="19"/>
                    </a:lnTo>
                    <a:lnTo>
                      <a:pt x="200" y="19"/>
                    </a:lnTo>
                    <a:lnTo>
                      <a:pt x="201" y="20"/>
                    </a:lnTo>
                    <a:lnTo>
                      <a:pt x="201" y="19"/>
                    </a:lnTo>
                    <a:lnTo>
                      <a:pt x="201" y="18"/>
                    </a:lnTo>
                    <a:lnTo>
                      <a:pt x="201" y="16"/>
                    </a:lnTo>
                    <a:lnTo>
                      <a:pt x="202" y="16"/>
                    </a:lnTo>
                    <a:lnTo>
                      <a:pt x="203" y="18"/>
                    </a:lnTo>
                    <a:lnTo>
                      <a:pt x="206" y="21"/>
                    </a:lnTo>
                    <a:lnTo>
                      <a:pt x="206" y="22"/>
                    </a:lnTo>
                    <a:lnTo>
                      <a:pt x="207" y="22"/>
                    </a:lnTo>
                    <a:lnTo>
                      <a:pt x="208" y="21"/>
                    </a:lnTo>
                    <a:lnTo>
                      <a:pt x="209" y="20"/>
                    </a:lnTo>
                    <a:lnTo>
                      <a:pt x="209" y="19"/>
                    </a:lnTo>
                    <a:lnTo>
                      <a:pt x="208" y="18"/>
                    </a:lnTo>
                    <a:lnTo>
                      <a:pt x="208" y="15"/>
                    </a:lnTo>
                    <a:lnTo>
                      <a:pt x="209" y="16"/>
                    </a:lnTo>
                    <a:lnTo>
                      <a:pt x="209" y="15"/>
                    </a:lnTo>
                    <a:lnTo>
                      <a:pt x="209" y="14"/>
                    </a:lnTo>
                    <a:lnTo>
                      <a:pt x="209" y="13"/>
                    </a:lnTo>
                    <a:lnTo>
                      <a:pt x="210" y="13"/>
                    </a:lnTo>
                    <a:lnTo>
                      <a:pt x="211" y="13"/>
                    </a:lnTo>
                    <a:lnTo>
                      <a:pt x="211" y="14"/>
                    </a:lnTo>
                    <a:lnTo>
                      <a:pt x="213" y="15"/>
                    </a:lnTo>
                    <a:lnTo>
                      <a:pt x="214" y="16"/>
                    </a:lnTo>
                    <a:lnTo>
                      <a:pt x="216" y="18"/>
                    </a:lnTo>
                    <a:lnTo>
                      <a:pt x="216" y="19"/>
                    </a:lnTo>
                    <a:lnTo>
                      <a:pt x="217" y="20"/>
                    </a:lnTo>
                    <a:lnTo>
                      <a:pt x="218" y="19"/>
                    </a:lnTo>
                    <a:lnTo>
                      <a:pt x="220" y="20"/>
                    </a:lnTo>
                    <a:lnTo>
                      <a:pt x="218" y="21"/>
                    </a:lnTo>
                    <a:lnTo>
                      <a:pt x="218" y="22"/>
                    </a:lnTo>
                    <a:lnTo>
                      <a:pt x="218" y="23"/>
                    </a:lnTo>
                    <a:lnTo>
                      <a:pt x="218" y="25"/>
                    </a:lnTo>
                    <a:lnTo>
                      <a:pt x="218" y="27"/>
                    </a:lnTo>
                    <a:lnTo>
                      <a:pt x="218" y="28"/>
                    </a:lnTo>
                    <a:lnTo>
                      <a:pt x="220" y="28"/>
                    </a:lnTo>
                    <a:lnTo>
                      <a:pt x="221" y="28"/>
                    </a:lnTo>
                    <a:lnTo>
                      <a:pt x="221" y="27"/>
                    </a:lnTo>
                    <a:lnTo>
                      <a:pt x="221" y="26"/>
                    </a:lnTo>
                    <a:lnTo>
                      <a:pt x="222" y="27"/>
                    </a:lnTo>
                    <a:lnTo>
                      <a:pt x="222" y="29"/>
                    </a:lnTo>
                    <a:lnTo>
                      <a:pt x="222" y="32"/>
                    </a:lnTo>
                    <a:lnTo>
                      <a:pt x="223" y="33"/>
                    </a:lnTo>
                    <a:lnTo>
                      <a:pt x="225" y="34"/>
                    </a:lnTo>
                    <a:lnTo>
                      <a:pt x="225" y="32"/>
                    </a:lnTo>
                    <a:lnTo>
                      <a:pt x="224" y="30"/>
                    </a:lnTo>
                    <a:lnTo>
                      <a:pt x="224" y="29"/>
                    </a:lnTo>
                    <a:lnTo>
                      <a:pt x="225" y="29"/>
                    </a:lnTo>
                    <a:lnTo>
                      <a:pt x="227" y="29"/>
                    </a:lnTo>
                    <a:lnTo>
                      <a:pt x="228" y="30"/>
                    </a:lnTo>
                    <a:lnTo>
                      <a:pt x="228" y="29"/>
                    </a:lnTo>
                    <a:lnTo>
                      <a:pt x="228" y="28"/>
                    </a:lnTo>
                    <a:lnTo>
                      <a:pt x="228" y="27"/>
                    </a:lnTo>
                    <a:lnTo>
                      <a:pt x="225" y="26"/>
                    </a:lnTo>
                    <a:lnTo>
                      <a:pt x="224" y="26"/>
                    </a:lnTo>
                    <a:lnTo>
                      <a:pt x="224" y="25"/>
                    </a:lnTo>
                    <a:lnTo>
                      <a:pt x="225" y="23"/>
                    </a:lnTo>
                    <a:lnTo>
                      <a:pt x="225" y="22"/>
                    </a:lnTo>
                    <a:lnTo>
                      <a:pt x="224" y="22"/>
                    </a:lnTo>
                    <a:lnTo>
                      <a:pt x="224" y="21"/>
                    </a:lnTo>
                    <a:lnTo>
                      <a:pt x="224" y="20"/>
                    </a:lnTo>
                    <a:lnTo>
                      <a:pt x="224" y="19"/>
                    </a:lnTo>
                    <a:lnTo>
                      <a:pt x="224" y="18"/>
                    </a:lnTo>
                    <a:lnTo>
                      <a:pt x="223" y="16"/>
                    </a:lnTo>
                    <a:lnTo>
                      <a:pt x="222" y="15"/>
                    </a:lnTo>
                    <a:lnTo>
                      <a:pt x="221" y="14"/>
                    </a:lnTo>
                    <a:lnTo>
                      <a:pt x="221" y="13"/>
                    </a:lnTo>
                    <a:lnTo>
                      <a:pt x="222" y="12"/>
                    </a:lnTo>
                    <a:lnTo>
                      <a:pt x="224" y="13"/>
                    </a:lnTo>
                    <a:lnTo>
                      <a:pt x="225" y="14"/>
                    </a:lnTo>
                    <a:lnTo>
                      <a:pt x="225" y="15"/>
                    </a:lnTo>
                    <a:lnTo>
                      <a:pt x="227" y="16"/>
                    </a:lnTo>
                    <a:lnTo>
                      <a:pt x="228" y="16"/>
                    </a:lnTo>
                    <a:lnTo>
                      <a:pt x="228" y="18"/>
                    </a:lnTo>
                    <a:lnTo>
                      <a:pt x="229" y="21"/>
                    </a:lnTo>
                    <a:lnTo>
                      <a:pt x="230" y="22"/>
                    </a:lnTo>
                    <a:lnTo>
                      <a:pt x="231" y="22"/>
                    </a:lnTo>
                    <a:lnTo>
                      <a:pt x="231" y="19"/>
                    </a:lnTo>
                    <a:lnTo>
                      <a:pt x="230" y="16"/>
                    </a:lnTo>
                    <a:lnTo>
                      <a:pt x="231" y="15"/>
                    </a:lnTo>
                    <a:lnTo>
                      <a:pt x="232" y="14"/>
                    </a:lnTo>
                    <a:lnTo>
                      <a:pt x="234" y="14"/>
                    </a:lnTo>
                    <a:lnTo>
                      <a:pt x="235" y="14"/>
                    </a:lnTo>
                    <a:lnTo>
                      <a:pt x="235" y="13"/>
                    </a:lnTo>
                    <a:lnTo>
                      <a:pt x="236" y="12"/>
                    </a:lnTo>
                    <a:lnTo>
                      <a:pt x="236" y="13"/>
                    </a:lnTo>
                    <a:close/>
                    <a:moveTo>
                      <a:pt x="563" y="6"/>
                    </a:moveTo>
                    <a:lnTo>
                      <a:pt x="563" y="7"/>
                    </a:lnTo>
                    <a:lnTo>
                      <a:pt x="562" y="11"/>
                    </a:lnTo>
                    <a:lnTo>
                      <a:pt x="561" y="14"/>
                    </a:lnTo>
                    <a:lnTo>
                      <a:pt x="559" y="16"/>
                    </a:lnTo>
                    <a:lnTo>
                      <a:pt x="559" y="19"/>
                    </a:lnTo>
                    <a:lnTo>
                      <a:pt x="558" y="20"/>
                    </a:lnTo>
                    <a:lnTo>
                      <a:pt x="557" y="21"/>
                    </a:lnTo>
                    <a:lnTo>
                      <a:pt x="556" y="23"/>
                    </a:lnTo>
                    <a:lnTo>
                      <a:pt x="554" y="26"/>
                    </a:lnTo>
                    <a:lnTo>
                      <a:pt x="552" y="28"/>
                    </a:lnTo>
                    <a:lnTo>
                      <a:pt x="551" y="29"/>
                    </a:lnTo>
                    <a:lnTo>
                      <a:pt x="550" y="32"/>
                    </a:lnTo>
                    <a:lnTo>
                      <a:pt x="547" y="36"/>
                    </a:lnTo>
                    <a:lnTo>
                      <a:pt x="545" y="37"/>
                    </a:lnTo>
                    <a:lnTo>
                      <a:pt x="544" y="37"/>
                    </a:lnTo>
                    <a:lnTo>
                      <a:pt x="544" y="36"/>
                    </a:lnTo>
                    <a:lnTo>
                      <a:pt x="543" y="36"/>
                    </a:lnTo>
                    <a:lnTo>
                      <a:pt x="542" y="37"/>
                    </a:lnTo>
                    <a:lnTo>
                      <a:pt x="541" y="37"/>
                    </a:lnTo>
                    <a:lnTo>
                      <a:pt x="542" y="36"/>
                    </a:lnTo>
                    <a:lnTo>
                      <a:pt x="543" y="35"/>
                    </a:lnTo>
                    <a:lnTo>
                      <a:pt x="542" y="34"/>
                    </a:lnTo>
                    <a:lnTo>
                      <a:pt x="543" y="34"/>
                    </a:lnTo>
                    <a:lnTo>
                      <a:pt x="545" y="32"/>
                    </a:lnTo>
                    <a:lnTo>
                      <a:pt x="548" y="30"/>
                    </a:lnTo>
                    <a:lnTo>
                      <a:pt x="548" y="29"/>
                    </a:lnTo>
                    <a:lnTo>
                      <a:pt x="549" y="28"/>
                    </a:lnTo>
                    <a:lnTo>
                      <a:pt x="549" y="27"/>
                    </a:lnTo>
                    <a:lnTo>
                      <a:pt x="549" y="25"/>
                    </a:lnTo>
                    <a:lnTo>
                      <a:pt x="551" y="21"/>
                    </a:lnTo>
                    <a:lnTo>
                      <a:pt x="555" y="18"/>
                    </a:lnTo>
                    <a:lnTo>
                      <a:pt x="557" y="18"/>
                    </a:lnTo>
                    <a:lnTo>
                      <a:pt x="558" y="14"/>
                    </a:lnTo>
                    <a:lnTo>
                      <a:pt x="559" y="13"/>
                    </a:lnTo>
                    <a:lnTo>
                      <a:pt x="559" y="11"/>
                    </a:lnTo>
                    <a:lnTo>
                      <a:pt x="561" y="9"/>
                    </a:lnTo>
                    <a:lnTo>
                      <a:pt x="561" y="8"/>
                    </a:lnTo>
                    <a:lnTo>
                      <a:pt x="559" y="7"/>
                    </a:lnTo>
                    <a:lnTo>
                      <a:pt x="562" y="6"/>
                    </a:lnTo>
                    <a:lnTo>
                      <a:pt x="562" y="7"/>
                    </a:lnTo>
                    <a:lnTo>
                      <a:pt x="563" y="6"/>
                    </a:lnTo>
                    <a:close/>
                    <a:moveTo>
                      <a:pt x="253" y="5"/>
                    </a:moveTo>
                    <a:lnTo>
                      <a:pt x="255" y="7"/>
                    </a:lnTo>
                    <a:lnTo>
                      <a:pt x="255" y="8"/>
                    </a:lnTo>
                    <a:lnTo>
                      <a:pt x="256" y="8"/>
                    </a:lnTo>
                    <a:lnTo>
                      <a:pt x="256" y="9"/>
                    </a:lnTo>
                    <a:lnTo>
                      <a:pt x="256" y="11"/>
                    </a:lnTo>
                    <a:lnTo>
                      <a:pt x="256" y="12"/>
                    </a:lnTo>
                    <a:lnTo>
                      <a:pt x="255" y="12"/>
                    </a:lnTo>
                    <a:lnTo>
                      <a:pt x="253" y="12"/>
                    </a:lnTo>
                    <a:lnTo>
                      <a:pt x="253" y="14"/>
                    </a:lnTo>
                    <a:lnTo>
                      <a:pt x="255" y="14"/>
                    </a:lnTo>
                    <a:lnTo>
                      <a:pt x="256" y="14"/>
                    </a:lnTo>
                    <a:lnTo>
                      <a:pt x="257" y="15"/>
                    </a:lnTo>
                    <a:lnTo>
                      <a:pt x="256" y="16"/>
                    </a:lnTo>
                    <a:lnTo>
                      <a:pt x="256" y="18"/>
                    </a:lnTo>
                    <a:lnTo>
                      <a:pt x="257" y="19"/>
                    </a:lnTo>
                    <a:lnTo>
                      <a:pt x="257" y="21"/>
                    </a:lnTo>
                    <a:lnTo>
                      <a:pt x="257" y="22"/>
                    </a:lnTo>
                    <a:lnTo>
                      <a:pt x="255" y="26"/>
                    </a:lnTo>
                    <a:lnTo>
                      <a:pt x="255" y="28"/>
                    </a:lnTo>
                    <a:lnTo>
                      <a:pt x="252" y="26"/>
                    </a:lnTo>
                    <a:lnTo>
                      <a:pt x="252" y="23"/>
                    </a:lnTo>
                    <a:lnTo>
                      <a:pt x="251" y="21"/>
                    </a:lnTo>
                    <a:lnTo>
                      <a:pt x="250" y="19"/>
                    </a:lnTo>
                    <a:lnTo>
                      <a:pt x="246" y="15"/>
                    </a:lnTo>
                    <a:lnTo>
                      <a:pt x="246" y="14"/>
                    </a:lnTo>
                    <a:lnTo>
                      <a:pt x="248" y="13"/>
                    </a:lnTo>
                    <a:lnTo>
                      <a:pt x="249" y="13"/>
                    </a:lnTo>
                    <a:lnTo>
                      <a:pt x="249" y="12"/>
                    </a:lnTo>
                    <a:lnTo>
                      <a:pt x="248" y="9"/>
                    </a:lnTo>
                    <a:lnTo>
                      <a:pt x="248" y="8"/>
                    </a:lnTo>
                    <a:lnTo>
                      <a:pt x="246" y="8"/>
                    </a:lnTo>
                    <a:lnTo>
                      <a:pt x="246" y="7"/>
                    </a:lnTo>
                    <a:lnTo>
                      <a:pt x="245" y="6"/>
                    </a:lnTo>
                    <a:lnTo>
                      <a:pt x="245" y="5"/>
                    </a:lnTo>
                    <a:lnTo>
                      <a:pt x="246" y="5"/>
                    </a:lnTo>
                    <a:lnTo>
                      <a:pt x="248" y="5"/>
                    </a:lnTo>
                    <a:lnTo>
                      <a:pt x="248" y="6"/>
                    </a:lnTo>
                    <a:lnTo>
                      <a:pt x="249" y="6"/>
                    </a:lnTo>
                    <a:lnTo>
                      <a:pt x="250" y="5"/>
                    </a:lnTo>
                    <a:lnTo>
                      <a:pt x="251" y="5"/>
                    </a:lnTo>
                    <a:lnTo>
                      <a:pt x="251" y="4"/>
                    </a:lnTo>
                    <a:lnTo>
                      <a:pt x="252" y="2"/>
                    </a:lnTo>
                    <a:lnTo>
                      <a:pt x="252" y="1"/>
                    </a:lnTo>
                    <a:lnTo>
                      <a:pt x="253" y="0"/>
                    </a:lnTo>
                    <a:lnTo>
                      <a:pt x="255" y="0"/>
                    </a:lnTo>
                    <a:lnTo>
                      <a:pt x="255" y="1"/>
                    </a:lnTo>
                    <a:lnTo>
                      <a:pt x="253" y="2"/>
                    </a:lnTo>
                    <a:lnTo>
                      <a:pt x="253" y="4"/>
                    </a:lnTo>
                    <a:lnTo>
                      <a:pt x="253" y="5"/>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0" name="Freeform 20">
                <a:extLst>
                  <a:ext uri="{FF2B5EF4-FFF2-40B4-BE49-F238E27FC236}">
                    <a16:creationId xmlns:a16="http://schemas.microsoft.com/office/drawing/2014/main" id="{DCAFFC2B-95BA-454F-9739-AA73BB8D4BDF}"/>
                  </a:ext>
                </a:extLst>
              </p:cNvPr>
              <p:cNvSpPr>
                <a:spLocks noEditPoints="1"/>
              </p:cNvSpPr>
              <p:nvPr/>
            </p:nvSpPr>
            <p:spPr bwMode="auto">
              <a:xfrm>
                <a:off x="3673475" y="2617314"/>
                <a:ext cx="1695450" cy="2563813"/>
              </a:xfrm>
              <a:custGeom>
                <a:avLst/>
                <a:gdLst>
                  <a:gd name="T0" fmla="*/ 19 w 1068"/>
                  <a:gd name="T1" fmla="*/ 994 h 1615"/>
                  <a:gd name="T2" fmla="*/ 7 w 1068"/>
                  <a:gd name="T3" fmla="*/ 944 h 1615"/>
                  <a:gd name="T4" fmla="*/ 689 w 1068"/>
                  <a:gd name="T5" fmla="*/ 128 h 1615"/>
                  <a:gd name="T6" fmla="*/ 961 w 1068"/>
                  <a:gd name="T7" fmla="*/ 104 h 1615"/>
                  <a:gd name="T8" fmla="*/ 744 w 1068"/>
                  <a:gd name="T9" fmla="*/ 65 h 1615"/>
                  <a:gd name="T10" fmla="*/ 870 w 1068"/>
                  <a:gd name="T11" fmla="*/ 4 h 1615"/>
                  <a:gd name="T12" fmla="*/ 905 w 1068"/>
                  <a:gd name="T13" fmla="*/ 24 h 1615"/>
                  <a:gd name="T14" fmla="*/ 952 w 1068"/>
                  <a:gd name="T15" fmla="*/ 65 h 1615"/>
                  <a:gd name="T16" fmla="*/ 955 w 1068"/>
                  <a:gd name="T17" fmla="*/ 108 h 1615"/>
                  <a:gd name="T18" fmla="*/ 976 w 1068"/>
                  <a:gd name="T19" fmla="*/ 80 h 1615"/>
                  <a:gd name="T20" fmla="*/ 1043 w 1068"/>
                  <a:gd name="T21" fmla="*/ 714 h 1615"/>
                  <a:gd name="T22" fmla="*/ 895 w 1068"/>
                  <a:gd name="T23" fmla="*/ 1351 h 1615"/>
                  <a:gd name="T24" fmla="*/ 763 w 1068"/>
                  <a:gd name="T25" fmla="*/ 1460 h 1615"/>
                  <a:gd name="T26" fmla="*/ 688 w 1068"/>
                  <a:gd name="T27" fmla="*/ 1489 h 1615"/>
                  <a:gd name="T28" fmla="*/ 627 w 1068"/>
                  <a:gd name="T29" fmla="*/ 1493 h 1615"/>
                  <a:gd name="T30" fmla="*/ 523 w 1068"/>
                  <a:gd name="T31" fmla="*/ 1511 h 1615"/>
                  <a:gd name="T32" fmla="*/ 482 w 1068"/>
                  <a:gd name="T33" fmla="*/ 1554 h 1615"/>
                  <a:gd name="T34" fmla="*/ 417 w 1068"/>
                  <a:gd name="T35" fmla="*/ 1601 h 1615"/>
                  <a:gd name="T36" fmla="*/ 372 w 1068"/>
                  <a:gd name="T37" fmla="*/ 1608 h 1615"/>
                  <a:gd name="T38" fmla="*/ 320 w 1068"/>
                  <a:gd name="T39" fmla="*/ 1605 h 1615"/>
                  <a:gd name="T40" fmla="*/ 224 w 1068"/>
                  <a:gd name="T41" fmla="*/ 1526 h 1615"/>
                  <a:gd name="T42" fmla="*/ 258 w 1068"/>
                  <a:gd name="T43" fmla="*/ 1457 h 1615"/>
                  <a:gd name="T44" fmla="*/ 220 w 1068"/>
                  <a:gd name="T45" fmla="*/ 1343 h 1615"/>
                  <a:gd name="T46" fmla="*/ 169 w 1068"/>
                  <a:gd name="T47" fmla="*/ 1211 h 1615"/>
                  <a:gd name="T48" fmla="*/ 32 w 1068"/>
                  <a:gd name="T49" fmla="*/ 1016 h 1615"/>
                  <a:gd name="T50" fmla="*/ 49 w 1068"/>
                  <a:gd name="T51" fmla="*/ 1027 h 1615"/>
                  <a:gd name="T52" fmla="*/ 73 w 1068"/>
                  <a:gd name="T53" fmla="*/ 1028 h 1615"/>
                  <a:gd name="T54" fmla="*/ 42 w 1068"/>
                  <a:gd name="T55" fmla="*/ 965 h 1615"/>
                  <a:gd name="T56" fmla="*/ 77 w 1068"/>
                  <a:gd name="T57" fmla="*/ 1011 h 1615"/>
                  <a:gd name="T58" fmla="*/ 74 w 1068"/>
                  <a:gd name="T59" fmla="*/ 962 h 1615"/>
                  <a:gd name="T60" fmla="*/ 17 w 1068"/>
                  <a:gd name="T61" fmla="*/ 850 h 1615"/>
                  <a:gd name="T62" fmla="*/ 13 w 1068"/>
                  <a:gd name="T63" fmla="*/ 747 h 1615"/>
                  <a:gd name="T64" fmla="*/ 42 w 1068"/>
                  <a:gd name="T65" fmla="*/ 728 h 1615"/>
                  <a:gd name="T66" fmla="*/ 73 w 1068"/>
                  <a:gd name="T67" fmla="*/ 683 h 1615"/>
                  <a:gd name="T68" fmla="*/ 183 w 1068"/>
                  <a:gd name="T69" fmla="*/ 589 h 1615"/>
                  <a:gd name="T70" fmla="*/ 260 w 1068"/>
                  <a:gd name="T71" fmla="*/ 570 h 1615"/>
                  <a:gd name="T72" fmla="*/ 332 w 1068"/>
                  <a:gd name="T73" fmla="*/ 533 h 1615"/>
                  <a:gd name="T74" fmla="*/ 421 w 1068"/>
                  <a:gd name="T75" fmla="*/ 495 h 1615"/>
                  <a:gd name="T76" fmla="*/ 544 w 1068"/>
                  <a:gd name="T77" fmla="*/ 368 h 1615"/>
                  <a:gd name="T78" fmla="*/ 552 w 1068"/>
                  <a:gd name="T79" fmla="*/ 277 h 1615"/>
                  <a:gd name="T80" fmla="*/ 587 w 1068"/>
                  <a:gd name="T81" fmla="*/ 231 h 1615"/>
                  <a:gd name="T82" fmla="*/ 613 w 1068"/>
                  <a:gd name="T83" fmla="*/ 249 h 1615"/>
                  <a:gd name="T84" fmla="*/ 646 w 1068"/>
                  <a:gd name="T85" fmla="*/ 277 h 1615"/>
                  <a:gd name="T86" fmla="*/ 661 w 1068"/>
                  <a:gd name="T87" fmla="*/ 256 h 1615"/>
                  <a:gd name="T88" fmla="*/ 634 w 1068"/>
                  <a:gd name="T89" fmla="*/ 223 h 1615"/>
                  <a:gd name="T90" fmla="*/ 637 w 1068"/>
                  <a:gd name="T91" fmla="*/ 202 h 1615"/>
                  <a:gd name="T92" fmla="*/ 668 w 1068"/>
                  <a:gd name="T93" fmla="*/ 210 h 1615"/>
                  <a:gd name="T94" fmla="*/ 709 w 1068"/>
                  <a:gd name="T95" fmla="*/ 203 h 1615"/>
                  <a:gd name="T96" fmla="*/ 715 w 1068"/>
                  <a:gd name="T97" fmla="*/ 168 h 1615"/>
                  <a:gd name="T98" fmla="*/ 702 w 1068"/>
                  <a:gd name="T99" fmla="*/ 142 h 1615"/>
                  <a:gd name="T100" fmla="*/ 723 w 1068"/>
                  <a:gd name="T101" fmla="*/ 131 h 1615"/>
                  <a:gd name="T102" fmla="*/ 725 w 1068"/>
                  <a:gd name="T103" fmla="*/ 125 h 1615"/>
                  <a:gd name="T104" fmla="*/ 734 w 1068"/>
                  <a:gd name="T105" fmla="*/ 107 h 1615"/>
                  <a:gd name="T106" fmla="*/ 764 w 1068"/>
                  <a:gd name="T107" fmla="*/ 110 h 1615"/>
                  <a:gd name="T108" fmla="*/ 742 w 1068"/>
                  <a:gd name="T109" fmla="*/ 86 h 1615"/>
                  <a:gd name="T110" fmla="*/ 765 w 1068"/>
                  <a:gd name="T111" fmla="*/ 68 h 1615"/>
                  <a:gd name="T112" fmla="*/ 778 w 1068"/>
                  <a:gd name="T113" fmla="*/ 51 h 1615"/>
                  <a:gd name="T114" fmla="*/ 800 w 1068"/>
                  <a:gd name="T115" fmla="*/ 66 h 1615"/>
                  <a:gd name="T116" fmla="*/ 802 w 1068"/>
                  <a:gd name="T117" fmla="*/ 26 h 1615"/>
                  <a:gd name="T118" fmla="*/ 814 w 1068"/>
                  <a:gd name="T119" fmla="*/ 34 h 1615"/>
                  <a:gd name="T120" fmla="*/ 832 w 1068"/>
                  <a:gd name="T121" fmla="*/ 27 h 1615"/>
                  <a:gd name="T122" fmla="*/ 853 w 1068"/>
                  <a:gd name="T123" fmla="*/ 19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68" h="1615">
                    <a:moveTo>
                      <a:pt x="250" y="1418"/>
                    </a:moveTo>
                    <a:lnTo>
                      <a:pt x="250" y="1420"/>
                    </a:lnTo>
                    <a:lnTo>
                      <a:pt x="248" y="1419"/>
                    </a:lnTo>
                    <a:lnTo>
                      <a:pt x="248" y="1418"/>
                    </a:lnTo>
                    <a:lnTo>
                      <a:pt x="247" y="1415"/>
                    </a:lnTo>
                    <a:lnTo>
                      <a:pt x="247" y="1414"/>
                    </a:lnTo>
                    <a:lnTo>
                      <a:pt x="247" y="1413"/>
                    </a:lnTo>
                    <a:lnTo>
                      <a:pt x="248" y="1415"/>
                    </a:lnTo>
                    <a:lnTo>
                      <a:pt x="250" y="1418"/>
                    </a:lnTo>
                    <a:close/>
                    <a:moveTo>
                      <a:pt x="239" y="1404"/>
                    </a:moveTo>
                    <a:lnTo>
                      <a:pt x="239" y="1405"/>
                    </a:lnTo>
                    <a:lnTo>
                      <a:pt x="238" y="1406"/>
                    </a:lnTo>
                    <a:lnTo>
                      <a:pt x="236" y="1405"/>
                    </a:lnTo>
                    <a:lnTo>
                      <a:pt x="234" y="1406"/>
                    </a:lnTo>
                    <a:lnTo>
                      <a:pt x="233" y="1406"/>
                    </a:lnTo>
                    <a:lnTo>
                      <a:pt x="234" y="1405"/>
                    </a:lnTo>
                    <a:lnTo>
                      <a:pt x="236" y="1405"/>
                    </a:lnTo>
                    <a:lnTo>
                      <a:pt x="236" y="1404"/>
                    </a:lnTo>
                    <a:lnTo>
                      <a:pt x="238" y="1404"/>
                    </a:lnTo>
                    <a:lnTo>
                      <a:pt x="239" y="1404"/>
                    </a:lnTo>
                    <a:close/>
                    <a:moveTo>
                      <a:pt x="84" y="1169"/>
                    </a:moveTo>
                    <a:lnTo>
                      <a:pt x="84" y="1168"/>
                    </a:lnTo>
                    <a:lnTo>
                      <a:pt x="83" y="1167"/>
                    </a:lnTo>
                    <a:lnTo>
                      <a:pt x="85" y="1167"/>
                    </a:lnTo>
                    <a:lnTo>
                      <a:pt x="85" y="1166"/>
                    </a:lnTo>
                    <a:lnTo>
                      <a:pt x="85" y="1165"/>
                    </a:lnTo>
                    <a:lnTo>
                      <a:pt x="87" y="1165"/>
                    </a:lnTo>
                    <a:lnTo>
                      <a:pt x="88" y="1165"/>
                    </a:lnTo>
                    <a:lnTo>
                      <a:pt x="87" y="1166"/>
                    </a:lnTo>
                    <a:lnTo>
                      <a:pt x="85" y="1167"/>
                    </a:lnTo>
                    <a:lnTo>
                      <a:pt x="85" y="1168"/>
                    </a:lnTo>
                    <a:lnTo>
                      <a:pt x="84" y="1169"/>
                    </a:lnTo>
                    <a:close/>
                    <a:moveTo>
                      <a:pt x="3" y="962"/>
                    </a:moveTo>
                    <a:lnTo>
                      <a:pt x="3" y="963"/>
                    </a:lnTo>
                    <a:lnTo>
                      <a:pt x="4" y="963"/>
                    </a:lnTo>
                    <a:lnTo>
                      <a:pt x="5" y="963"/>
                    </a:lnTo>
                    <a:lnTo>
                      <a:pt x="6" y="965"/>
                    </a:lnTo>
                    <a:lnTo>
                      <a:pt x="6" y="966"/>
                    </a:lnTo>
                    <a:lnTo>
                      <a:pt x="7" y="969"/>
                    </a:lnTo>
                    <a:lnTo>
                      <a:pt x="10" y="972"/>
                    </a:lnTo>
                    <a:lnTo>
                      <a:pt x="11" y="976"/>
                    </a:lnTo>
                    <a:lnTo>
                      <a:pt x="11" y="978"/>
                    </a:lnTo>
                    <a:lnTo>
                      <a:pt x="13" y="980"/>
                    </a:lnTo>
                    <a:lnTo>
                      <a:pt x="14" y="983"/>
                    </a:lnTo>
                    <a:lnTo>
                      <a:pt x="17" y="986"/>
                    </a:lnTo>
                    <a:lnTo>
                      <a:pt x="19" y="990"/>
                    </a:lnTo>
                    <a:lnTo>
                      <a:pt x="18" y="993"/>
                    </a:lnTo>
                    <a:lnTo>
                      <a:pt x="18" y="995"/>
                    </a:lnTo>
                    <a:lnTo>
                      <a:pt x="20" y="995"/>
                    </a:lnTo>
                    <a:lnTo>
                      <a:pt x="20" y="994"/>
                    </a:lnTo>
                    <a:lnTo>
                      <a:pt x="19" y="994"/>
                    </a:lnTo>
                    <a:lnTo>
                      <a:pt x="19" y="993"/>
                    </a:lnTo>
                    <a:lnTo>
                      <a:pt x="20" y="993"/>
                    </a:lnTo>
                    <a:lnTo>
                      <a:pt x="20" y="994"/>
                    </a:lnTo>
                    <a:lnTo>
                      <a:pt x="21" y="995"/>
                    </a:lnTo>
                    <a:lnTo>
                      <a:pt x="23" y="997"/>
                    </a:lnTo>
                    <a:lnTo>
                      <a:pt x="24" y="998"/>
                    </a:lnTo>
                    <a:lnTo>
                      <a:pt x="25" y="999"/>
                    </a:lnTo>
                    <a:lnTo>
                      <a:pt x="26" y="1000"/>
                    </a:lnTo>
                    <a:lnTo>
                      <a:pt x="26" y="1001"/>
                    </a:lnTo>
                    <a:lnTo>
                      <a:pt x="27" y="1002"/>
                    </a:lnTo>
                    <a:lnTo>
                      <a:pt x="27" y="1004"/>
                    </a:lnTo>
                    <a:lnTo>
                      <a:pt x="27" y="1006"/>
                    </a:lnTo>
                    <a:lnTo>
                      <a:pt x="26" y="1006"/>
                    </a:lnTo>
                    <a:lnTo>
                      <a:pt x="24" y="1006"/>
                    </a:lnTo>
                    <a:lnTo>
                      <a:pt x="24" y="1004"/>
                    </a:lnTo>
                    <a:lnTo>
                      <a:pt x="21" y="1001"/>
                    </a:lnTo>
                    <a:lnTo>
                      <a:pt x="20" y="1000"/>
                    </a:lnTo>
                    <a:lnTo>
                      <a:pt x="20" y="999"/>
                    </a:lnTo>
                    <a:lnTo>
                      <a:pt x="16" y="995"/>
                    </a:lnTo>
                    <a:lnTo>
                      <a:pt x="13" y="994"/>
                    </a:lnTo>
                    <a:lnTo>
                      <a:pt x="10" y="987"/>
                    </a:lnTo>
                    <a:lnTo>
                      <a:pt x="6" y="985"/>
                    </a:lnTo>
                    <a:lnTo>
                      <a:pt x="5" y="983"/>
                    </a:lnTo>
                    <a:lnTo>
                      <a:pt x="6" y="983"/>
                    </a:lnTo>
                    <a:lnTo>
                      <a:pt x="6" y="981"/>
                    </a:lnTo>
                    <a:lnTo>
                      <a:pt x="5" y="978"/>
                    </a:lnTo>
                    <a:lnTo>
                      <a:pt x="2" y="973"/>
                    </a:lnTo>
                    <a:lnTo>
                      <a:pt x="0" y="970"/>
                    </a:lnTo>
                    <a:lnTo>
                      <a:pt x="0" y="969"/>
                    </a:lnTo>
                    <a:lnTo>
                      <a:pt x="0" y="965"/>
                    </a:lnTo>
                    <a:lnTo>
                      <a:pt x="0" y="964"/>
                    </a:lnTo>
                    <a:lnTo>
                      <a:pt x="2" y="963"/>
                    </a:lnTo>
                    <a:lnTo>
                      <a:pt x="3" y="962"/>
                    </a:lnTo>
                    <a:close/>
                    <a:moveTo>
                      <a:pt x="7" y="946"/>
                    </a:moveTo>
                    <a:lnTo>
                      <a:pt x="6" y="946"/>
                    </a:lnTo>
                    <a:lnTo>
                      <a:pt x="6" y="945"/>
                    </a:lnTo>
                    <a:lnTo>
                      <a:pt x="5" y="944"/>
                    </a:lnTo>
                    <a:lnTo>
                      <a:pt x="6" y="938"/>
                    </a:lnTo>
                    <a:lnTo>
                      <a:pt x="6" y="936"/>
                    </a:lnTo>
                    <a:lnTo>
                      <a:pt x="5" y="931"/>
                    </a:lnTo>
                    <a:lnTo>
                      <a:pt x="5" y="928"/>
                    </a:lnTo>
                    <a:lnTo>
                      <a:pt x="7" y="927"/>
                    </a:lnTo>
                    <a:lnTo>
                      <a:pt x="7" y="929"/>
                    </a:lnTo>
                    <a:lnTo>
                      <a:pt x="7" y="930"/>
                    </a:lnTo>
                    <a:lnTo>
                      <a:pt x="7" y="931"/>
                    </a:lnTo>
                    <a:lnTo>
                      <a:pt x="7" y="934"/>
                    </a:lnTo>
                    <a:lnTo>
                      <a:pt x="7" y="936"/>
                    </a:lnTo>
                    <a:lnTo>
                      <a:pt x="7" y="937"/>
                    </a:lnTo>
                    <a:lnTo>
                      <a:pt x="6" y="939"/>
                    </a:lnTo>
                    <a:lnTo>
                      <a:pt x="6" y="941"/>
                    </a:lnTo>
                    <a:lnTo>
                      <a:pt x="7" y="944"/>
                    </a:lnTo>
                    <a:lnTo>
                      <a:pt x="7" y="945"/>
                    </a:lnTo>
                    <a:lnTo>
                      <a:pt x="7" y="946"/>
                    </a:lnTo>
                    <a:close/>
                    <a:moveTo>
                      <a:pt x="6" y="924"/>
                    </a:moveTo>
                    <a:lnTo>
                      <a:pt x="6" y="925"/>
                    </a:lnTo>
                    <a:lnTo>
                      <a:pt x="6" y="924"/>
                    </a:lnTo>
                    <a:lnTo>
                      <a:pt x="6" y="923"/>
                    </a:lnTo>
                    <a:lnTo>
                      <a:pt x="5" y="911"/>
                    </a:lnTo>
                    <a:lnTo>
                      <a:pt x="6" y="908"/>
                    </a:lnTo>
                    <a:lnTo>
                      <a:pt x="6" y="909"/>
                    </a:lnTo>
                    <a:lnTo>
                      <a:pt x="7" y="911"/>
                    </a:lnTo>
                    <a:lnTo>
                      <a:pt x="6" y="918"/>
                    </a:lnTo>
                    <a:lnTo>
                      <a:pt x="7" y="920"/>
                    </a:lnTo>
                    <a:lnTo>
                      <a:pt x="9" y="921"/>
                    </a:lnTo>
                    <a:lnTo>
                      <a:pt x="7" y="923"/>
                    </a:lnTo>
                    <a:lnTo>
                      <a:pt x="6" y="924"/>
                    </a:lnTo>
                    <a:close/>
                    <a:moveTo>
                      <a:pt x="112" y="603"/>
                    </a:moveTo>
                    <a:lnTo>
                      <a:pt x="112" y="605"/>
                    </a:lnTo>
                    <a:lnTo>
                      <a:pt x="111" y="605"/>
                    </a:lnTo>
                    <a:lnTo>
                      <a:pt x="109" y="606"/>
                    </a:lnTo>
                    <a:lnTo>
                      <a:pt x="108" y="605"/>
                    </a:lnTo>
                    <a:lnTo>
                      <a:pt x="106" y="605"/>
                    </a:lnTo>
                    <a:lnTo>
                      <a:pt x="106" y="606"/>
                    </a:lnTo>
                    <a:lnTo>
                      <a:pt x="106" y="607"/>
                    </a:lnTo>
                    <a:lnTo>
                      <a:pt x="105" y="607"/>
                    </a:lnTo>
                    <a:lnTo>
                      <a:pt x="104" y="606"/>
                    </a:lnTo>
                    <a:lnTo>
                      <a:pt x="104" y="605"/>
                    </a:lnTo>
                    <a:lnTo>
                      <a:pt x="104" y="601"/>
                    </a:lnTo>
                    <a:lnTo>
                      <a:pt x="105" y="599"/>
                    </a:lnTo>
                    <a:lnTo>
                      <a:pt x="110" y="593"/>
                    </a:lnTo>
                    <a:lnTo>
                      <a:pt x="111" y="591"/>
                    </a:lnTo>
                    <a:lnTo>
                      <a:pt x="112" y="591"/>
                    </a:lnTo>
                    <a:lnTo>
                      <a:pt x="113" y="592"/>
                    </a:lnTo>
                    <a:lnTo>
                      <a:pt x="113" y="594"/>
                    </a:lnTo>
                    <a:lnTo>
                      <a:pt x="115" y="595"/>
                    </a:lnTo>
                    <a:lnTo>
                      <a:pt x="115" y="596"/>
                    </a:lnTo>
                    <a:lnTo>
                      <a:pt x="115" y="598"/>
                    </a:lnTo>
                    <a:lnTo>
                      <a:pt x="113" y="600"/>
                    </a:lnTo>
                    <a:lnTo>
                      <a:pt x="113" y="601"/>
                    </a:lnTo>
                    <a:lnTo>
                      <a:pt x="113" y="602"/>
                    </a:lnTo>
                    <a:lnTo>
                      <a:pt x="112" y="602"/>
                    </a:lnTo>
                    <a:lnTo>
                      <a:pt x="112" y="603"/>
                    </a:lnTo>
                    <a:close/>
                    <a:moveTo>
                      <a:pt x="694" y="129"/>
                    </a:moveTo>
                    <a:lnTo>
                      <a:pt x="693" y="130"/>
                    </a:lnTo>
                    <a:lnTo>
                      <a:pt x="692" y="130"/>
                    </a:lnTo>
                    <a:lnTo>
                      <a:pt x="691" y="130"/>
                    </a:lnTo>
                    <a:lnTo>
                      <a:pt x="691" y="131"/>
                    </a:lnTo>
                    <a:lnTo>
                      <a:pt x="689" y="131"/>
                    </a:lnTo>
                    <a:lnTo>
                      <a:pt x="687" y="130"/>
                    </a:lnTo>
                    <a:lnTo>
                      <a:pt x="686" y="130"/>
                    </a:lnTo>
                    <a:lnTo>
                      <a:pt x="686" y="129"/>
                    </a:lnTo>
                    <a:lnTo>
                      <a:pt x="689" y="128"/>
                    </a:lnTo>
                    <a:lnTo>
                      <a:pt x="692" y="128"/>
                    </a:lnTo>
                    <a:lnTo>
                      <a:pt x="692" y="126"/>
                    </a:lnTo>
                    <a:lnTo>
                      <a:pt x="693" y="125"/>
                    </a:lnTo>
                    <a:lnTo>
                      <a:pt x="694" y="125"/>
                    </a:lnTo>
                    <a:lnTo>
                      <a:pt x="694" y="126"/>
                    </a:lnTo>
                    <a:lnTo>
                      <a:pt x="694" y="128"/>
                    </a:lnTo>
                    <a:lnTo>
                      <a:pt x="693" y="129"/>
                    </a:lnTo>
                    <a:lnTo>
                      <a:pt x="694" y="129"/>
                    </a:lnTo>
                    <a:close/>
                    <a:moveTo>
                      <a:pt x="702" y="125"/>
                    </a:moveTo>
                    <a:lnTo>
                      <a:pt x="702" y="129"/>
                    </a:lnTo>
                    <a:lnTo>
                      <a:pt x="703" y="129"/>
                    </a:lnTo>
                    <a:lnTo>
                      <a:pt x="704" y="130"/>
                    </a:lnTo>
                    <a:lnTo>
                      <a:pt x="703" y="131"/>
                    </a:lnTo>
                    <a:lnTo>
                      <a:pt x="706" y="131"/>
                    </a:lnTo>
                    <a:lnTo>
                      <a:pt x="708" y="135"/>
                    </a:lnTo>
                    <a:lnTo>
                      <a:pt x="709" y="135"/>
                    </a:lnTo>
                    <a:lnTo>
                      <a:pt x="708" y="136"/>
                    </a:lnTo>
                    <a:lnTo>
                      <a:pt x="702" y="138"/>
                    </a:lnTo>
                    <a:lnTo>
                      <a:pt x="701" y="139"/>
                    </a:lnTo>
                    <a:lnTo>
                      <a:pt x="700" y="139"/>
                    </a:lnTo>
                    <a:lnTo>
                      <a:pt x="700" y="138"/>
                    </a:lnTo>
                    <a:lnTo>
                      <a:pt x="700" y="137"/>
                    </a:lnTo>
                    <a:lnTo>
                      <a:pt x="701" y="137"/>
                    </a:lnTo>
                    <a:lnTo>
                      <a:pt x="702" y="135"/>
                    </a:lnTo>
                    <a:lnTo>
                      <a:pt x="703" y="135"/>
                    </a:lnTo>
                    <a:lnTo>
                      <a:pt x="704" y="133"/>
                    </a:lnTo>
                    <a:lnTo>
                      <a:pt x="703" y="133"/>
                    </a:lnTo>
                    <a:lnTo>
                      <a:pt x="701" y="133"/>
                    </a:lnTo>
                    <a:lnTo>
                      <a:pt x="700" y="135"/>
                    </a:lnTo>
                    <a:lnTo>
                      <a:pt x="699" y="135"/>
                    </a:lnTo>
                    <a:lnTo>
                      <a:pt x="700" y="133"/>
                    </a:lnTo>
                    <a:lnTo>
                      <a:pt x="699" y="135"/>
                    </a:lnTo>
                    <a:lnTo>
                      <a:pt x="698" y="135"/>
                    </a:lnTo>
                    <a:lnTo>
                      <a:pt x="696" y="135"/>
                    </a:lnTo>
                    <a:lnTo>
                      <a:pt x="695" y="133"/>
                    </a:lnTo>
                    <a:lnTo>
                      <a:pt x="696" y="132"/>
                    </a:lnTo>
                    <a:lnTo>
                      <a:pt x="696" y="131"/>
                    </a:lnTo>
                    <a:lnTo>
                      <a:pt x="696" y="130"/>
                    </a:lnTo>
                    <a:lnTo>
                      <a:pt x="698" y="130"/>
                    </a:lnTo>
                    <a:lnTo>
                      <a:pt x="699" y="131"/>
                    </a:lnTo>
                    <a:lnTo>
                      <a:pt x="699" y="130"/>
                    </a:lnTo>
                    <a:lnTo>
                      <a:pt x="699" y="129"/>
                    </a:lnTo>
                    <a:lnTo>
                      <a:pt x="699" y="128"/>
                    </a:lnTo>
                    <a:lnTo>
                      <a:pt x="698" y="129"/>
                    </a:lnTo>
                    <a:lnTo>
                      <a:pt x="699" y="128"/>
                    </a:lnTo>
                    <a:lnTo>
                      <a:pt x="702" y="125"/>
                    </a:lnTo>
                    <a:lnTo>
                      <a:pt x="703" y="124"/>
                    </a:lnTo>
                    <a:lnTo>
                      <a:pt x="702" y="125"/>
                    </a:lnTo>
                    <a:close/>
                    <a:moveTo>
                      <a:pt x="962" y="103"/>
                    </a:moveTo>
                    <a:lnTo>
                      <a:pt x="962" y="104"/>
                    </a:lnTo>
                    <a:lnTo>
                      <a:pt x="961" y="104"/>
                    </a:lnTo>
                    <a:lnTo>
                      <a:pt x="961" y="103"/>
                    </a:lnTo>
                    <a:lnTo>
                      <a:pt x="959" y="103"/>
                    </a:lnTo>
                    <a:lnTo>
                      <a:pt x="958" y="103"/>
                    </a:lnTo>
                    <a:lnTo>
                      <a:pt x="957" y="102"/>
                    </a:lnTo>
                    <a:lnTo>
                      <a:pt x="957" y="101"/>
                    </a:lnTo>
                    <a:lnTo>
                      <a:pt x="956" y="100"/>
                    </a:lnTo>
                    <a:lnTo>
                      <a:pt x="956" y="95"/>
                    </a:lnTo>
                    <a:lnTo>
                      <a:pt x="957" y="94"/>
                    </a:lnTo>
                    <a:lnTo>
                      <a:pt x="958" y="95"/>
                    </a:lnTo>
                    <a:lnTo>
                      <a:pt x="958" y="97"/>
                    </a:lnTo>
                    <a:lnTo>
                      <a:pt x="959" y="97"/>
                    </a:lnTo>
                    <a:lnTo>
                      <a:pt x="959" y="98"/>
                    </a:lnTo>
                    <a:lnTo>
                      <a:pt x="961" y="98"/>
                    </a:lnTo>
                    <a:lnTo>
                      <a:pt x="962" y="100"/>
                    </a:lnTo>
                    <a:lnTo>
                      <a:pt x="962" y="102"/>
                    </a:lnTo>
                    <a:lnTo>
                      <a:pt x="962" y="103"/>
                    </a:lnTo>
                    <a:close/>
                    <a:moveTo>
                      <a:pt x="728" y="102"/>
                    </a:moveTo>
                    <a:lnTo>
                      <a:pt x="727" y="102"/>
                    </a:lnTo>
                    <a:lnTo>
                      <a:pt x="727" y="103"/>
                    </a:lnTo>
                    <a:lnTo>
                      <a:pt x="727" y="104"/>
                    </a:lnTo>
                    <a:lnTo>
                      <a:pt x="728" y="104"/>
                    </a:lnTo>
                    <a:lnTo>
                      <a:pt x="728" y="105"/>
                    </a:lnTo>
                    <a:lnTo>
                      <a:pt x="728" y="107"/>
                    </a:lnTo>
                    <a:lnTo>
                      <a:pt x="727" y="105"/>
                    </a:lnTo>
                    <a:lnTo>
                      <a:pt x="725" y="105"/>
                    </a:lnTo>
                    <a:lnTo>
                      <a:pt x="725" y="104"/>
                    </a:lnTo>
                    <a:lnTo>
                      <a:pt x="724" y="104"/>
                    </a:lnTo>
                    <a:lnTo>
                      <a:pt x="723" y="104"/>
                    </a:lnTo>
                    <a:lnTo>
                      <a:pt x="722" y="103"/>
                    </a:lnTo>
                    <a:lnTo>
                      <a:pt x="723" y="102"/>
                    </a:lnTo>
                    <a:lnTo>
                      <a:pt x="724" y="101"/>
                    </a:lnTo>
                    <a:lnTo>
                      <a:pt x="725" y="102"/>
                    </a:lnTo>
                    <a:lnTo>
                      <a:pt x="725" y="101"/>
                    </a:lnTo>
                    <a:lnTo>
                      <a:pt x="727" y="101"/>
                    </a:lnTo>
                    <a:lnTo>
                      <a:pt x="727" y="100"/>
                    </a:lnTo>
                    <a:lnTo>
                      <a:pt x="727" y="101"/>
                    </a:lnTo>
                    <a:lnTo>
                      <a:pt x="728" y="102"/>
                    </a:lnTo>
                    <a:close/>
                    <a:moveTo>
                      <a:pt x="979" y="91"/>
                    </a:moveTo>
                    <a:lnTo>
                      <a:pt x="979" y="93"/>
                    </a:lnTo>
                    <a:lnTo>
                      <a:pt x="977" y="91"/>
                    </a:lnTo>
                    <a:lnTo>
                      <a:pt x="972" y="87"/>
                    </a:lnTo>
                    <a:lnTo>
                      <a:pt x="972" y="86"/>
                    </a:lnTo>
                    <a:lnTo>
                      <a:pt x="972" y="81"/>
                    </a:lnTo>
                    <a:lnTo>
                      <a:pt x="973" y="81"/>
                    </a:lnTo>
                    <a:lnTo>
                      <a:pt x="974" y="82"/>
                    </a:lnTo>
                    <a:lnTo>
                      <a:pt x="977" y="86"/>
                    </a:lnTo>
                    <a:lnTo>
                      <a:pt x="977" y="87"/>
                    </a:lnTo>
                    <a:lnTo>
                      <a:pt x="978" y="87"/>
                    </a:lnTo>
                    <a:lnTo>
                      <a:pt x="978" y="89"/>
                    </a:lnTo>
                    <a:lnTo>
                      <a:pt x="979" y="91"/>
                    </a:lnTo>
                    <a:close/>
                    <a:moveTo>
                      <a:pt x="744" y="65"/>
                    </a:moveTo>
                    <a:lnTo>
                      <a:pt x="744" y="67"/>
                    </a:lnTo>
                    <a:lnTo>
                      <a:pt x="743" y="69"/>
                    </a:lnTo>
                    <a:lnTo>
                      <a:pt x="743" y="70"/>
                    </a:lnTo>
                    <a:lnTo>
                      <a:pt x="744" y="72"/>
                    </a:lnTo>
                    <a:lnTo>
                      <a:pt x="745" y="73"/>
                    </a:lnTo>
                    <a:lnTo>
                      <a:pt x="744" y="73"/>
                    </a:lnTo>
                    <a:lnTo>
                      <a:pt x="743" y="74"/>
                    </a:lnTo>
                    <a:lnTo>
                      <a:pt x="742" y="74"/>
                    </a:lnTo>
                    <a:lnTo>
                      <a:pt x="742" y="75"/>
                    </a:lnTo>
                    <a:lnTo>
                      <a:pt x="741" y="75"/>
                    </a:lnTo>
                    <a:lnTo>
                      <a:pt x="742" y="76"/>
                    </a:lnTo>
                    <a:lnTo>
                      <a:pt x="741" y="76"/>
                    </a:lnTo>
                    <a:lnTo>
                      <a:pt x="741" y="77"/>
                    </a:lnTo>
                    <a:lnTo>
                      <a:pt x="739" y="76"/>
                    </a:lnTo>
                    <a:lnTo>
                      <a:pt x="739" y="75"/>
                    </a:lnTo>
                    <a:lnTo>
                      <a:pt x="738" y="75"/>
                    </a:lnTo>
                    <a:lnTo>
                      <a:pt x="737" y="75"/>
                    </a:lnTo>
                    <a:lnTo>
                      <a:pt x="737" y="73"/>
                    </a:lnTo>
                    <a:lnTo>
                      <a:pt x="737" y="70"/>
                    </a:lnTo>
                    <a:lnTo>
                      <a:pt x="737" y="69"/>
                    </a:lnTo>
                    <a:lnTo>
                      <a:pt x="738" y="69"/>
                    </a:lnTo>
                    <a:lnTo>
                      <a:pt x="739" y="70"/>
                    </a:lnTo>
                    <a:lnTo>
                      <a:pt x="739" y="69"/>
                    </a:lnTo>
                    <a:lnTo>
                      <a:pt x="739" y="67"/>
                    </a:lnTo>
                    <a:lnTo>
                      <a:pt x="738" y="66"/>
                    </a:lnTo>
                    <a:lnTo>
                      <a:pt x="738" y="65"/>
                    </a:lnTo>
                    <a:lnTo>
                      <a:pt x="739" y="63"/>
                    </a:lnTo>
                    <a:lnTo>
                      <a:pt x="741" y="63"/>
                    </a:lnTo>
                    <a:lnTo>
                      <a:pt x="741" y="62"/>
                    </a:lnTo>
                    <a:lnTo>
                      <a:pt x="742" y="62"/>
                    </a:lnTo>
                    <a:lnTo>
                      <a:pt x="742" y="63"/>
                    </a:lnTo>
                    <a:lnTo>
                      <a:pt x="743" y="63"/>
                    </a:lnTo>
                    <a:lnTo>
                      <a:pt x="744" y="63"/>
                    </a:lnTo>
                    <a:lnTo>
                      <a:pt x="744" y="65"/>
                    </a:lnTo>
                    <a:close/>
                    <a:moveTo>
                      <a:pt x="843" y="14"/>
                    </a:moveTo>
                    <a:lnTo>
                      <a:pt x="843" y="16"/>
                    </a:lnTo>
                    <a:lnTo>
                      <a:pt x="842" y="16"/>
                    </a:lnTo>
                    <a:lnTo>
                      <a:pt x="841" y="16"/>
                    </a:lnTo>
                    <a:lnTo>
                      <a:pt x="839" y="16"/>
                    </a:lnTo>
                    <a:lnTo>
                      <a:pt x="838" y="14"/>
                    </a:lnTo>
                    <a:lnTo>
                      <a:pt x="837" y="16"/>
                    </a:lnTo>
                    <a:lnTo>
                      <a:pt x="836" y="16"/>
                    </a:lnTo>
                    <a:lnTo>
                      <a:pt x="835" y="16"/>
                    </a:lnTo>
                    <a:lnTo>
                      <a:pt x="835" y="14"/>
                    </a:lnTo>
                    <a:lnTo>
                      <a:pt x="835" y="13"/>
                    </a:lnTo>
                    <a:lnTo>
                      <a:pt x="836" y="13"/>
                    </a:lnTo>
                    <a:lnTo>
                      <a:pt x="838" y="13"/>
                    </a:lnTo>
                    <a:lnTo>
                      <a:pt x="841" y="14"/>
                    </a:lnTo>
                    <a:lnTo>
                      <a:pt x="843" y="14"/>
                    </a:lnTo>
                    <a:close/>
                    <a:moveTo>
                      <a:pt x="869" y="3"/>
                    </a:moveTo>
                    <a:lnTo>
                      <a:pt x="870" y="4"/>
                    </a:lnTo>
                    <a:lnTo>
                      <a:pt x="871" y="4"/>
                    </a:lnTo>
                    <a:lnTo>
                      <a:pt x="872" y="4"/>
                    </a:lnTo>
                    <a:lnTo>
                      <a:pt x="872" y="5"/>
                    </a:lnTo>
                    <a:lnTo>
                      <a:pt x="872" y="7"/>
                    </a:lnTo>
                    <a:lnTo>
                      <a:pt x="873" y="7"/>
                    </a:lnTo>
                    <a:lnTo>
                      <a:pt x="874" y="7"/>
                    </a:lnTo>
                    <a:lnTo>
                      <a:pt x="874" y="9"/>
                    </a:lnTo>
                    <a:lnTo>
                      <a:pt x="876" y="7"/>
                    </a:lnTo>
                    <a:lnTo>
                      <a:pt x="876" y="9"/>
                    </a:lnTo>
                    <a:lnTo>
                      <a:pt x="876" y="11"/>
                    </a:lnTo>
                    <a:lnTo>
                      <a:pt x="874" y="12"/>
                    </a:lnTo>
                    <a:lnTo>
                      <a:pt x="877" y="12"/>
                    </a:lnTo>
                    <a:lnTo>
                      <a:pt x="878" y="13"/>
                    </a:lnTo>
                    <a:lnTo>
                      <a:pt x="878" y="16"/>
                    </a:lnTo>
                    <a:lnTo>
                      <a:pt x="879" y="17"/>
                    </a:lnTo>
                    <a:lnTo>
                      <a:pt x="880" y="18"/>
                    </a:lnTo>
                    <a:lnTo>
                      <a:pt x="881" y="17"/>
                    </a:lnTo>
                    <a:lnTo>
                      <a:pt x="883" y="16"/>
                    </a:lnTo>
                    <a:lnTo>
                      <a:pt x="884" y="14"/>
                    </a:lnTo>
                    <a:lnTo>
                      <a:pt x="883" y="13"/>
                    </a:lnTo>
                    <a:lnTo>
                      <a:pt x="883" y="12"/>
                    </a:lnTo>
                    <a:lnTo>
                      <a:pt x="883" y="11"/>
                    </a:lnTo>
                    <a:lnTo>
                      <a:pt x="884" y="12"/>
                    </a:lnTo>
                    <a:lnTo>
                      <a:pt x="885" y="13"/>
                    </a:lnTo>
                    <a:lnTo>
                      <a:pt x="885" y="16"/>
                    </a:lnTo>
                    <a:lnTo>
                      <a:pt x="885" y="17"/>
                    </a:lnTo>
                    <a:lnTo>
                      <a:pt x="886" y="16"/>
                    </a:lnTo>
                    <a:lnTo>
                      <a:pt x="887" y="13"/>
                    </a:lnTo>
                    <a:lnTo>
                      <a:pt x="888" y="12"/>
                    </a:lnTo>
                    <a:lnTo>
                      <a:pt x="890" y="12"/>
                    </a:lnTo>
                    <a:lnTo>
                      <a:pt x="892" y="16"/>
                    </a:lnTo>
                    <a:lnTo>
                      <a:pt x="893" y="16"/>
                    </a:lnTo>
                    <a:lnTo>
                      <a:pt x="895" y="17"/>
                    </a:lnTo>
                    <a:lnTo>
                      <a:pt x="895" y="16"/>
                    </a:lnTo>
                    <a:lnTo>
                      <a:pt x="894" y="13"/>
                    </a:lnTo>
                    <a:lnTo>
                      <a:pt x="895" y="12"/>
                    </a:lnTo>
                    <a:lnTo>
                      <a:pt x="896" y="13"/>
                    </a:lnTo>
                    <a:lnTo>
                      <a:pt x="898" y="14"/>
                    </a:lnTo>
                    <a:lnTo>
                      <a:pt x="899" y="14"/>
                    </a:lnTo>
                    <a:lnTo>
                      <a:pt x="899" y="16"/>
                    </a:lnTo>
                    <a:lnTo>
                      <a:pt x="900" y="16"/>
                    </a:lnTo>
                    <a:lnTo>
                      <a:pt x="900" y="17"/>
                    </a:lnTo>
                    <a:lnTo>
                      <a:pt x="901" y="16"/>
                    </a:lnTo>
                    <a:lnTo>
                      <a:pt x="901" y="14"/>
                    </a:lnTo>
                    <a:lnTo>
                      <a:pt x="902" y="16"/>
                    </a:lnTo>
                    <a:lnTo>
                      <a:pt x="903" y="17"/>
                    </a:lnTo>
                    <a:lnTo>
                      <a:pt x="903" y="18"/>
                    </a:lnTo>
                    <a:lnTo>
                      <a:pt x="903" y="19"/>
                    </a:lnTo>
                    <a:lnTo>
                      <a:pt x="903" y="20"/>
                    </a:lnTo>
                    <a:lnTo>
                      <a:pt x="903" y="23"/>
                    </a:lnTo>
                    <a:lnTo>
                      <a:pt x="905" y="24"/>
                    </a:lnTo>
                    <a:lnTo>
                      <a:pt x="906" y="24"/>
                    </a:lnTo>
                    <a:lnTo>
                      <a:pt x="906" y="25"/>
                    </a:lnTo>
                    <a:lnTo>
                      <a:pt x="907" y="24"/>
                    </a:lnTo>
                    <a:lnTo>
                      <a:pt x="908" y="24"/>
                    </a:lnTo>
                    <a:lnTo>
                      <a:pt x="909" y="25"/>
                    </a:lnTo>
                    <a:lnTo>
                      <a:pt x="910" y="26"/>
                    </a:lnTo>
                    <a:lnTo>
                      <a:pt x="912" y="26"/>
                    </a:lnTo>
                    <a:lnTo>
                      <a:pt x="913" y="27"/>
                    </a:lnTo>
                    <a:lnTo>
                      <a:pt x="914" y="28"/>
                    </a:lnTo>
                    <a:lnTo>
                      <a:pt x="915" y="28"/>
                    </a:lnTo>
                    <a:lnTo>
                      <a:pt x="916" y="28"/>
                    </a:lnTo>
                    <a:lnTo>
                      <a:pt x="917" y="30"/>
                    </a:lnTo>
                    <a:lnTo>
                      <a:pt x="920" y="32"/>
                    </a:lnTo>
                    <a:lnTo>
                      <a:pt x="921" y="33"/>
                    </a:lnTo>
                    <a:lnTo>
                      <a:pt x="921" y="34"/>
                    </a:lnTo>
                    <a:lnTo>
                      <a:pt x="922" y="35"/>
                    </a:lnTo>
                    <a:lnTo>
                      <a:pt x="927" y="39"/>
                    </a:lnTo>
                    <a:lnTo>
                      <a:pt x="928" y="40"/>
                    </a:lnTo>
                    <a:lnTo>
                      <a:pt x="930" y="45"/>
                    </a:lnTo>
                    <a:lnTo>
                      <a:pt x="930" y="46"/>
                    </a:lnTo>
                    <a:lnTo>
                      <a:pt x="931" y="46"/>
                    </a:lnTo>
                    <a:lnTo>
                      <a:pt x="933" y="46"/>
                    </a:lnTo>
                    <a:lnTo>
                      <a:pt x="933" y="47"/>
                    </a:lnTo>
                    <a:lnTo>
                      <a:pt x="933" y="49"/>
                    </a:lnTo>
                    <a:lnTo>
                      <a:pt x="933" y="51"/>
                    </a:lnTo>
                    <a:lnTo>
                      <a:pt x="934" y="51"/>
                    </a:lnTo>
                    <a:lnTo>
                      <a:pt x="934" y="49"/>
                    </a:lnTo>
                    <a:lnTo>
                      <a:pt x="935" y="48"/>
                    </a:lnTo>
                    <a:lnTo>
                      <a:pt x="936" y="49"/>
                    </a:lnTo>
                    <a:lnTo>
                      <a:pt x="936" y="51"/>
                    </a:lnTo>
                    <a:lnTo>
                      <a:pt x="935" y="52"/>
                    </a:lnTo>
                    <a:lnTo>
                      <a:pt x="935" y="53"/>
                    </a:lnTo>
                    <a:lnTo>
                      <a:pt x="936" y="53"/>
                    </a:lnTo>
                    <a:lnTo>
                      <a:pt x="937" y="53"/>
                    </a:lnTo>
                    <a:lnTo>
                      <a:pt x="938" y="54"/>
                    </a:lnTo>
                    <a:lnTo>
                      <a:pt x="941" y="55"/>
                    </a:lnTo>
                    <a:lnTo>
                      <a:pt x="942" y="56"/>
                    </a:lnTo>
                    <a:lnTo>
                      <a:pt x="942" y="58"/>
                    </a:lnTo>
                    <a:lnTo>
                      <a:pt x="941" y="58"/>
                    </a:lnTo>
                    <a:lnTo>
                      <a:pt x="941" y="59"/>
                    </a:lnTo>
                    <a:lnTo>
                      <a:pt x="942" y="59"/>
                    </a:lnTo>
                    <a:lnTo>
                      <a:pt x="942" y="60"/>
                    </a:lnTo>
                    <a:lnTo>
                      <a:pt x="943" y="60"/>
                    </a:lnTo>
                    <a:lnTo>
                      <a:pt x="945" y="59"/>
                    </a:lnTo>
                    <a:lnTo>
                      <a:pt x="947" y="59"/>
                    </a:lnTo>
                    <a:lnTo>
                      <a:pt x="949" y="61"/>
                    </a:lnTo>
                    <a:lnTo>
                      <a:pt x="950" y="61"/>
                    </a:lnTo>
                    <a:lnTo>
                      <a:pt x="950" y="62"/>
                    </a:lnTo>
                    <a:lnTo>
                      <a:pt x="950" y="63"/>
                    </a:lnTo>
                    <a:lnTo>
                      <a:pt x="951" y="65"/>
                    </a:lnTo>
                    <a:lnTo>
                      <a:pt x="952" y="65"/>
                    </a:lnTo>
                    <a:lnTo>
                      <a:pt x="954" y="65"/>
                    </a:lnTo>
                    <a:lnTo>
                      <a:pt x="955" y="65"/>
                    </a:lnTo>
                    <a:lnTo>
                      <a:pt x="957" y="68"/>
                    </a:lnTo>
                    <a:lnTo>
                      <a:pt x="958" y="68"/>
                    </a:lnTo>
                    <a:lnTo>
                      <a:pt x="961" y="68"/>
                    </a:lnTo>
                    <a:lnTo>
                      <a:pt x="962" y="68"/>
                    </a:lnTo>
                    <a:lnTo>
                      <a:pt x="963" y="69"/>
                    </a:lnTo>
                    <a:lnTo>
                      <a:pt x="963" y="70"/>
                    </a:lnTo>
                    <a:lnTo>
                      <a:pt x="963" y="72"/>
                    </a:lnTo>
                    <a:lnTo>
                      <a:pt x="962" y="70"/>
                    </a:lnTo>
                    <a:lnTo>
                      <a:pt x="961" y="70"/>
                    </a:lnTo>
                    <a:lnTo>
                      <a:pt x="959" y="72"/>
                    </a:lnTo>
                    <a:lnTo>
                      <a:pt x="959" y="73"/>
                    </a:lnTo>
                    <a:lnTo>
                      <a:pt x="959" y="74"/>
                    </a:lnTo>
                    <a:lnTo>
                      <a:pt x="961" y="76"/>
                    </a:lnTo>
                    <a:lnTo>
                      <a:pt x="961" y="77"/>
                    </a:lnTo>
                    <a:lnTo>
                      <a:pt x="959" y="79"/>
                    </a:lnTo>
                    <a:lnTo>
                      <a:pt x="958" y="79"/>
                    </a:lnTo>
                    <a:lnTo>
                      <a:pt x="957" y="79"/>
                    </a:lnTo>
                    <a:lnTo>
                      <a:pt x="955" y="80"/>
                    </a:lnTo>
                    <a:lnTo>
                      <a:pt x="957" y="81"/>
                    </a:lnTo>
                    <a:lnTo>
                      <a:pt x="956" y="83"/>
                    </a:lnTo>
                    <a:lnTo>
                      <a:pt x="955" y="88"/>
                    </a:lnTo>
                    <a:lnTo>
                      <a:pt x="955" y="89"/>
                    </a:lnTo>
                    <a:lnTo>
                      <a:pt x="954" y="90"/>
                    </a:lnTo>
                    <a:lnTo>
                      <a:pt x="954" y="91"/>
                    </a:lnTo>
                    <a:lnTo>
                      <a:pt x="954" y="94"/>
                    </a:lnTo>
                    <a:lnTo>
                      <a:pt x="954" y="95"/>
                    </a:lnTo>
                    <a:lnTo>
                      <a:pt x="952" y="97"/>
                    </a:lnTo>
                    <a:lnTo>
                      <a:pt x="952" y="98"/>
                    </a:lnTo>
                    <a:lnTo>
                      <a:pt x="952" y="101"/>
                    </a:lnTo>
                    <a:lnTo>
                      <a:pt x="952" y="102"/>
                    </a:lnTo>
                    <a:lnTo>
                      <a:pt x="954" y="103"/>
                    </a:lnTo>
                    <a:lnTo>
                      <a:pt x="954" y="104"/>
                    </a:lnTo>
                    <a:lnTo>
                      <a:pt x="954" y="111"/>
                    </a:lnTo>
                    <a:lnTo>
                      <a:pt x="954" y="112"/>
                    </a:lnTo>
                    <a:lnTo>
                      <a:pt x="952" y="112"/>
                    </a:lnTo>
                    <a:lnTo>
                      <a:pt x="951" y="112"/>
                    </a:lnTo>
                    <a:lnTo>
                      <a:pt x="954" y="118"/>
                    </a:lnTo>
                    <a:lnTo>
                      <a:pt x="954" y="121"/>
                    </a:lnTo>
                    <a:lnTo>
                      <a:pt x="952" y="124"/>
                    </a:lnTo>
                    <a:lnTo>
                      <a:pt x="950" y="126"/>
                    </a:lnTo>
                    <a:lnTo>
                      <a:pt x="950" y="128"/>
                    </a:lnTo>
                    <a:lnTo>
                      <a:pt x="952" y="128"/>
                    </a:lnTo>
                    <a:lnTo>
                      <a:pt x="954" y="125"/>
                    </a:lnTo>
                    <a:lnTo>
                      <a:pt x="955" y="124"/>
                    </a:lnTo>
                    <a:lnTo>
                      <a:pt x="956" y="122"/>
                    </a:lnTo>
                    <a:lnTo>
                      <a:pt x="957" y="119"/>
                    </a:lnTo>
                    <a:lnTo>
                      <a:pt x="957" y="116"/>
                    </a:lnTo>
                    <a:lnTo>
                      <a:pt x="957" y="112"/>
                    </a:lnTo>
                    <a:lnTo>
                      <a:pt x="955" y="108"/>
                    </a:lnTo>
                    <a:lnTo>
                      <a:pt x="956" y="108"/>
                    </a:lnTo>
                    <a:lnTo>
                      <a:pt x="956" y="107"/>
                    </a:lnTo>
                    <a:lnTo>
                      <a:pt x="956" y="105"/>
                    </a:lnTo>
                    <a:lnTo>
                      <a:pt x="957" y="104"/>
                    </a:lnTo>
                    <a:lnTo>
                      <a:pt x="958" y="105"/>
                    </a:lnTo>
                    <a:lnTo>
                      <a:pt x="961" y="107"/>
                    </a:lnTo>
                    <a:lnTo>
                      <a:pt x="964" y="110"/>
                    </a:lnTo>
                    <a:lnTo>
                      <a:pt x="965" y="111"/>
                    </a:lnTo>
                    <a:lnTo>
                      <a:pt x="966" y="114"/>
                    </a:lnTo>
                    <a:lnTo>
                      <a:pt x="969" y="118"/>
                    </a:lnTo>
                    <a:lnTo>
                      <a:pt x="969" y="119"/>
                    </a:lnTo>
                    <a:lnTo>
                      <a:pt x="970" y="114"/>
                    </a:lnTo>
                    <a:lnTo>
                      <a:pt x="969" y="111"/>
                    </a:lnTo>
                    <a:lnTo>
                      <a:pt x="967" y="110"/>
                    </a:lnTo>
                    <a:lnTo>
                      <a:pt x="965" y="108"/>
                    </a:lnTo>
                    <a:lnTo>
                      <a:pt x="964" y="107"/>
                    </a:lnTo>
                    <a:lnTo>
                      <a:pt x="964" y="105"/>
                    </a:lnTo>
                    <a:lnTo>
                      <a:pt x="963" y="104"/>
                    </a:lnTo>
                    <a:lnTo>
                      <a:pt x="964" y="103"/>
                    </a:lnTo>
                    <a:lnTo>
                      <a:pt x="964" y="102"/>
                    </a:lnTo>
                    <a:lnTo>
                      <a:pt x="963" y="100"/>
                    </a:lnTo>
                    <a:lnTo>
                      <a:pt x="963" y="98"/>
                    </a:lnTo>
                    <a:lnTo>
                      <a:pt x="962" y="98"/>
                    </a:lnTo>
                    <a:lnTo>
                      <a:pt x="962" y="95"/>
                    </a:lnTo>
                    <a:lnTo>
                      <a:pt x="963" y="93"/>
                    </a:lnTo>
                    <a:lnTo>
                      <a:pt x="966" y="88"/>
                    </a:lnTo>
                    <a:lnTo>
                      <a:pt x="967" y="88"/>
                    </a:lnTo>
                    <a:lnTo>
                      <a:pt x="967" y="87"/>
                    </a:lnTo>
                    <a:lnTo>
                      <a:pt x="967" y="86"/>
                    </a:lnTo>
                    <a:lnTo>
                      <a:pt x="967" y="84"/>
                    </a:lnTo>
                    <a:lnTo>
                      <a:pt x="970" y="83"/>
                    </a:lnTo>
                    <a:lnTo>
                      <a:pt x="971" y="86"/>
                    </a:lnTo>
                    <a:lnTo>
                      <a:pt x="972" y="91"/>
                    </a:lnTo>
                    <a:lnTo>
                      <a:pt x="972" y="93"/>
                    </a:lnTo>
                    <a:lnTo>
                      <a:pt x="973" y="94"/>
                    </a:lnTo>
                    <a:lnTo>
                      <a:pt x="973" y="91"/>
                    </a:lnTo>
                    <a:lnTo>
                      <a:pt x="973" y="90"/>
                    </a:lnTo>
                    <a:lnTo>
                      <a:pt x="973" y="89"/>
                    </a:lnTo>
                    <a:lnTo>
                      <a:pt x="976" y="91"/>
                    </a:lnTo>
                    <a:lnTo>
                      <a:pt x="977" y="93"/>
                    </a:lnTo>
                    <a:lnTo>
                      <a:pt x="979" y="93"/>
                    </a:lnTo>
                    <a:lnTo>
                      <a:pt x="980" y="93"/>
                    </a:lnTo>
                    <a:lnTo>
                      <a:pt x="980" y="91"/>
                    </a:lnTo>
                    <a:lnTo>
                      <a:pt x="980" y="90"/>
                    </a:lnTo>
                    <a:lnTo>
                      <a:pt x="980" y="89"/>
                    </a:lnTo>
                    <a:lnTo>
                      <a:pt x="979" y="89"/>
                    </a:lnTo>
                    <a:lnTo>
                      <a:pt x="977" y="86"/>
                    </a:lnTo>
                    <a:lnTo>
                      <a:pt x="977" y="83"/>
                    </a:lnTo>
                    <a:lnTo>
                      <a:pt x="976" y="82"/>
                    </a:lnTo>
                    <a:lnTo>
                      <a:pt x="976" y="81"/>
                    </a:lnTo>
                    <a:lnTo>
                      <a:pt x="976" y="80"/>
                    </a:lnTo>
                    <a:lnTo>
                      <a:pt x="977" y="80"/>
                    </a:lnTo>
                    <a:lnTo>
                      <a:pt x="978" y="79"/>
                    </a:lnTo>
                    <a:lnTo>
                      <a:pt x="978" y="77"/>
                    </a:lnTo>
                    <a:lnTo>
                      <a:pt x="977" y="77"/>
                    </a:lnTo>
                    <a:lnTo>
                      <a:pt x="976" y="77"/>
                    </a:lnTo>
                    <a:lnTo>
                      <a:pt x="976" y="76"/>
                    </a:lnTo>
                    <a:lnTo>
                      <a:pt x="974" y="75"/>
                    </a:lnTo>
                    <a:lnTo>
                      <a:pt x="978" y="74"/>
                    </a:lnTo>
                    <a:lnTo>
                      <a:pt x="980" y="73"/>
                    </a:lnTo>
                    <a:lnTo>
                      <a:pt x="983" y="73"/>
                    </a:lnTo>
                    <a:lnTo>
                      <a:pt x="983" y="72"/>
                    </a:lnTo>
                    <a:lnTo>
                      <a:pt x="985" y="72"/>
                    </a:lnTo>
                    <a:lnTo>
                      <a:pt x="986" y="72"/>
                    </a:lnTo>
                    <a:lnTo>
                      <a:pt x="988" y="73"/>
                    </a:lnTo>
                    <a:lnTo>
                      <a:pt x="995" y="73"/>
                    </a:lnTo>
                    <a:lnTo>
                      <a:pt x="998" y="74"/>
                    </a:lnTo>
                    <a:lnTo>
                      <a:pt x="1000" y="76"/>
                    </a:lnTo>
                    <a:lnTo>
                      <a:pt x="1001" y="75"/>
                    </a:lnTo>
                    <a:lnTo>
                      <a:pt x="1004" y="76"/>
                    </a:lnTo>
                    <a:lnTo>
                      <a:pt x="1005" y="76"/>
                    </a:lnTo>
                    <a:lnTo>
                      <a:pt x="1006" y="76"/>
                    </a:lnTo>
                    <a:lnTo>
                      <a:pt x="1013" y="76"/>
                    </a:lnTo>
                    <a:lnTo>
                      <a:pt x="1014" y="76"/>
                    </a:lnTo>
                    <a:lnTo>
                      <a:pt x="1016" y="79"/>
                    </a:lnTo>
                    <a:lnTo>
                      <a:pt x="1018" y="79"/>
                    </a:lnTo>
                    <a:lnTo>
                      <a:pt x="1019" y="79"/>
                    </a:lnTo>
                    <a:lnTo>
                      <a:pt x="1020" y="104"/>
                    </a:lnTo>
                    <a:lnTo>
                      <a:pt x="1020" y="130"/>
                    </a:lnTo>
                    <a:lnTo>
                      <a:pt x="1021" y="156"/>
                    </a:lnTo>
                    <a:lnTo>
                      <a:pt x="1022" y="181"/>
                    </a:lnTo>
                    <a:lnTo>
                      <a:pt x="1023" y="207"/>
                    </a:lnTo>
                    <a:lnTo>
                      <a:pt x="1025" y="233"/>
                    </a:lnTo>
                    <a:lnTo>
                      <a:pt x="1026" y="258"/>
                    </a:lnTo>
                    <a:lnTo>
                      <a:pt x="1027" y="284"/>
                    </a:lnTo>
                    <a:lnTo>
                      <a:pt x="1028" y="308"/>
                    </a:lnTo>
                    <a:lnTo>
                      <a:pt x="1028" y="334"/>
                    </a:lnTo>
                    <a:lnTo>
                      <a:pt x="1029" y="360"/>
                    </a:lnTo>
                    <a:lnTo>
                      <a:pt x="1030" y="385"/>
                    </a:lnTo>
                    <a:lnTo>
                      <a:pt x="1031" y="411"/>
                    </a:lnTo>
                    <a:lnTo>
                      <a:pt x="1033" y="436"/>
                    </a:lnTo>
                    <a:lnTo>
                      <a:pt x="1034" y="461"/>
                    </a:lnTo>
                    <a:lnTo>
                      <a:pt x="1035" y="487"/>
                    </a:lnTo>
                    <a:lnTo>
                      <a:pt x="1036" y="512"/>
                    </a:lnTo>
                    <a:lnTo>
                      <a:pt x="1036" y="537"/>
                    </a:lnTo>
                    <a:lnTo>
                      <a:pt x="1037" y="563"/>
                    </a:lnTo>
                    <a:lnTo>
                      <a:pt x="1038" y="588"/>
                    </a:lnTo>
                    <a:lnTo>
                      <a:pt x="1040" y="613"/>
                    </a:lnTo>
                    <a:lnTo>
                      <a:pt x="1041" y="638"/>
                    </a:lnTo>
                    <a:lnTo>
                      <a:pt x="1042" y="664"/>
                    </a:lnTo>
                    <a:lnTo>
                      <a:pt x="1043" y="689"/>
                    </a:lnTo>
                    <a:lnTo>
                      <a:pt x="1043" y="714"/>
                    </a:lnTo>
                    <a:lnTo>
                      <a:pt x="1044" y="739"/>
                    </a:lnTo>
                    <a:lnTo>
                      <a:pt x="1045" y="764"/>
                    </a:lnTo>
                    <a:lnTo>
                      <a:pt x="1047" y="790"/>
                    </a:lnTo>
                    <a:lnTo>
                      <a:pt x="1048" y="815"/>
                    </a:lnTo>
                    <a:lnTo>
                      <a:pt x="1049" y="840"/>
                    </a:lnTo>
                    <a:lnTo>
                      <a:pt x="1050" y="866"/>
                    </a:lnTo>
                    <a:lnTo>
                      <a:pt x="1050" y="890"/>
                    </a:lnTo>
                    <a:lnTo>
                      <a:pt x="1051" y="916"/>
                    </a:lnTo>
                    <a:lnTo>
                      <a:pt x="1052" y="942"/>
                    </a:lnTo>
                    <a:lnTo>
                      <a:pt x="1054" y="967"/>
                    </a:lnTo>
                    <a:lnTo>
                      <a:pt x="1055" y="993"/>
                    </a:lnTo>
                    <a:lnTo>
                      <a:pt x="1056" y="1020"/>
                    </a:lnTo>
                    <a:lnTo>
                      <a:pt x="1057" y="1046"/>
                    </a:lnTo>
                    <a:lnTo>
                      <a:pt x="1058" y="1071"/>
                    </a:lnTo>
                    <a:lnTo>
                      <a:pt x="1058" y="1097"/>
                    </a:lnTo>
                    <a:lnTo>
                      <a:pt x="1059" y="1123"/>
                    </a:lnTo>
                    <a:lnTo>
                      <a:pt x="1061" y="1148"/>
                    </a:lnTo>
                    <a:lnTo>
                      <a:pt x="1062" y="1174"/>
                    </a:lnTo>
                    <a:lnTo>
                      <a:pt x="1063" y="1200"/>
                    </a:lnTo>
                    <a:lnTo>
                      <a:pt x="1064" y="1226"/>
                    </a:lnTo>
                    <a:lnTo>
                      <a:pt x="1065" y="1252"/>
                    </a:lnTo>
                    <a:lnTo>
                      <a:pt x="1066" y="1278"/>
                    </a:lnTo>
                    <a:lnTo>
                      <a:pt x="1068" y="1303"/>
                    </a:lnTo>
                    <a:lnTo>
                      <a:pt x="1066" y="1303"/>
                    </a:lnTo>
                    <a:lnTo>
                      <a:pt x="1063" y="1305"/>
                    </a:lnTo>
                    <a:lnTo>
                      <a:pt x="1054" y="1310"/>
                    </a:lnTo>
                    <a:lnTo>
                      <a:pt x="1052" y="1312"/>
                    </a:lnTo>
                    <a:lnTo>
                      <a:pt x="1050" y="1313"/>
                    </a:lnTo>
                    <a:lnTo>
                      <a:pt x="1047" y="1315"/>
                    </a:lnTo>
                    <a:lnTo>
                      <a:pt x="1020" y="1329"/>
                    </a:lnTo>
                    <a:lnTo>
                      <a:pt x="1007" y="1335"/>
                    </a:lnTo>
                    <a:lnTo>
                      <a:pt x="992" y="1338"/>
                    </a:lnTo>
                    <a:lnTo>
                      <a:pt x="981" y="1343"/>
                    </a:lnTo>
                    <a:lnTo>
                      <a:pt x="980" y="1343"/>
                    </a:lnTo>
                    <a:lnTo>
                      <a:pt x="979" y="1343"/>
                    </a:lnTo>
                    <a:lnTo>
                      <a:pt x="978" y="1345"/>
                    </a:lnTo>
                    <a:lnTo>
                      <a:pt x="963" y="1350"/>
                    </a:lnTo>
                    <a:lnTo>
                      <a:pt x="952" y="1352"/>
                    </a:lnTo>
                    <a:lnTo>
                      <a:pt x="951" y="1354"/>
                    </a:lnTo>
                    <a:lnTo>
                      <a:pt x="950" y="1352"/>
                    </a:lnTo>
                    <a:lnTo>
                      <a:pt x="949" y="1354"/>
                    </a:lnTo>
                    <a:lnTo>
                      <a:pt x="942" y="1354"/>
                    </a:lnTo>
                    <a:lnTo>
                      <a:pt x="935" y="1355"/>
                    </a:lnTo>
                    <a:lnTo>
                      <a:pt x="933" y="1355"/>
                    </a:lnTo>
                    <a:lnTo>
                      <a:pt x="930" y="1355"/>
                    </a:lnTo>
                    <a:lnTo>
                      <a:pt x="926" y="1356"/>
                    </a:lnTo>
                    <a:lnTo>
                      <a:pt x="907" y="1355"/>
                    </a:lnTo>
                    <a:lnTo>
                      <a:pt x="901" y="1352"/>
                    </a:lnTo>
                    <a:lnTo>
                      <a:pt x="899" y="1352"/>
                    </a:lnTo>
                    <a:lnTo>
                      <a:pt x="896" y="1352"/>
                    </a:lnTo>
                    <a:lnTo>
                      <a:pt x="895" y="1351"/>
                    </a:lnTo>
                    <a:lnTo>
                      <a:pt x="894" y="1352"/>
                    </a:lnTo>
                    <a:lnTo>
                      <a:pt x="892" y="1352"/>
                    </a:lnTo>
                    <a:lnTo>
                      <a:pt x="892" y="1354"/>
                    </a:lnTo>
                    <a:lnTo>
                      <a:pt x="891" y="1355"/>
                    </a:lnTo>
                    <a:lnTo>
                      <a:pt x="888" y="1356"/>
                    </a:lnTo>
                    <a:lnTo>
                      <a:pt x="884" y="1355"/>
                    </a:lnTo>
                    <a:lnTo>
                      <a:pt x="883" y="1356"/>
                    </a:lnTo>
                    <a:lnTo>
                      <a:pt x="879" y="1358"/>
                    </a:lnTo>
                    <a:lnTo>
                      <a:pt x="876" y="1361"/>
                    </a:lnTo>
                    <a:lnTo>
                      <a:pt x="872" y="1363"/>
                    </a:lnTo>
                    <a:lnTo>
                      <a:pt x="864" y="1370"/>
                    </a:lnTo>
                    <a:lnTo>
                      <a:pt x="857" y="1377"/>
                    </a:lnTo>
                    <a:lnTo>
                      <a:pt x="852" y="1378"/>
                    </a:lnTo>
                    <a:lnTo>
                      <a:pt x="844" y="1382"/>
                    </a:lnTo>
                    <a:lnTo>
                      <a:pt x="839" y="1385"/>
                    </a:lnTo>
                    <a:lnTo>
                      <a:pt x="830" y="1391"/>
                    </a:lnTo>
                    <a:lnTo>
                      <a:pt x="827" y="1392"/>
                    </a:lnTo>
                    <a:lnTo>
                      <a:pt x="826" y="1393"/>
                    </a:lnTo>
                    <a:lnTo>
                      <a:pt x="824" y="1393"/>
                    </a:lnTo>
                    <a:lnTo>
                      <a:pt x="819" y="1400"/>
                    </a:lnTo>
                    <a:lnTo>
                      <a:pt x="815" y="1404"/>
                    </a:lnTo>
                    <a:lnTo>
                      <a:pt x="809" y="1406"/>
                    </a:lnTo>
                    <a:lnTo>
                      <a:pt x="808" y="1406"/>
                    </a:lnTo>
                    <a:lnTo>
                      <a:pt x="796" y="1409"/>
                    </a:lnTo>
                    <a:lnTo>
                      <a:pt x="786" y="1412"/>
                    </a:lnTo>
                    <a:lnTo>
                      <a:pt x="784" y="1413"/>
                    </a:lnTo>
                    <a:lnTo>
                      <a:pt x="782" y="1414"/>
                    </a:lnTo>
                    <a:lnTo>
                      <a:pt x="780" y="1416"/>
                    </a:lnTo>
                    <a:lnTo>
                      <a:pt x="780" y="1418"/>
                    </a:lnTo>
                    <a:lnTo>
                      <a:pt x="779" y="1418"/>
                    </a:lnTo>
                    <a:lnTo>
                      <a:pt x="778" y="1419"/>
                    </a:lnTo>
                    <a:lnTo>
                      <a:pt x="775" y="1421"/>
                    </a:lnTo>
                    <a:lnTo>
                      <a:pt x="773" y="1425"/>
                    </a:lnTo>
                    <a:lnTo>
                      <a:pt x="772" y="1428"/>
                    </a:lnTo>
                    <a:lnTo>
                      <a:pt x="771" y="1430"/>
                    </a:lnTo>
                    <a:lnTo>
                      <a:pt x="771" y="1434"/>
                    </a:lnTo>
                    <a:lnTo>
                      <a:pt x="771" y="1435"/>
                    </a:lnTo>
                    <a:lnTo>
                      <a:pt x="770" y="1436"/>
                    </a:lnTo>
                    <a:lnTo>
                      <a:pt x="770" y="1437"/>
                    </a:lnTo>
                    <a:lnTo>
                      <a:pt x="767" y="1442"/>
                    </a:lnTo>
                    <a:lnTo>
                      <a:pt x="767" y="1443"/>
                    </a:lnTo>
                    <a:lnTo>
                      <a:pt x="767" y="1444"/>
                    </a:lnTo>
                    <a:lnTo>
                      <a:pt x="767" y="1446"/>
                    </a:lnTo>
                    <a:lnTo>
                      <a:pt x="767" y="1447"/>
                    </a:lnTo>
                    <a:lnTo>
                      <a:pt x="766" y="1449"/>
                    </a:lnTo>
                    <a:lnTo>
                      <a:pt x="766" y="1451"/>
                    </a:lnTo>
                    <a:lnTo>
                      <a:pt x="765" y="1454"/>
                    </a:lnTo>
                    <a:lnTo>
                      <a:pt x="765" y="1457"/>
                    </a:lnTo>
                    <a:lnTo>
                      <a:pt x="765" y="1458"/>
                    </a:lnTo>
                    <a:lnTo>
                      <a:pt x="764" y="1458"/>
                    </a:lnTo>
                    <a:lnTo>
                      <a:pt x="763" y="1460"/>
                    </a:lnTo>
                    <a:lnTo>
                      <a:pt x="762" y="1460"/>
                    </a:lnTo>
                    <a:lnTo>
                      <a:pt x="760" y="1461"/>
                    </a:lnTo>
                    <a:lnTo>
                      <a:pt x="760" y="1462"/>
                    </a:lnTo>
                    <a:lnTo>
                      <a:pt x="760" y="1463"/>
                    </a:lnTo>
                    <a:lnTo>
                      <a:pt x="757" y="1465"/>
                    </a:lnTo>
                    <a:lnTo>
                      <a:pt x="755" y="1470"/>
                    </a:lnTo>
                    <a:lnTo>
                      <a:pt x="753" y="1471"/>
                    </a:lnTo>
                    <a:lnTo>
                      <a:pt x="753" y="1474"/>
                    </a:lnTo>
                    <a:lnTo>
                      <a:pt x="753" y="1475"/>
                    </a:lnTo>
                    <a:lnTo>
                      <a:pt x="753" y="1476"/>
                    </a:lnTo>
                    <a:lnTo>
                      <a:pt x="753" y="1477"/>
                    </a:lnTo>
                    <a:lnTo>
                      <a:pt x="752" y="1477"/>
                    </a:lnTo>
                    <a:lnTo>
                      <a:pt x="750" y="1479"/>
                    </a:lnTo>
                    <a:lnTo>
                      <a:pt x="749" y="1479"/>
                    </a:lnTo>
                    <a:lnTo>
                      <a:pt x="748" y="1481"/>
                    </a:lnTo>
                    <a:lnTo>
                      <a:pt x="748" y="1482"/>
                    </a:lnTo>
                    <a:lnTo>
                      <a:pt x="748" y="1483"/>
                    </a:lnTo>
                    <a:lnTo>
                      <a:pt x="746" y="1483"/>
                    </a:lnTo>
                    <a:lnTo>
                      <a:pt x="744" y="1483"/>
                    </a:lnTo>
                    <a:lnTo>
                      <a:pt x="742" y="1488"/>
                    </a:lnTo>
                    <a:lnTo>
                      <a:pt x="741" y="1488"/>
                    </a:lnTo>
                    <a:lnTo>
                      <a:pt x="739" y="1488"/>
                    </a:lnTo>
                    <a:lnTo>
                      <a:pt x="738" y="1486"/>
                    </a:lnTo>
                    <a:lnTo>
                      <a:pt x="738" y="1485"/>
                    </a:lnTo>
                    <a:lnTo>
                      <a:pt x="737" y="1485"/>
                    </a:lnTo>
                    <a:lnTo>
                      <a:pt x="732" y="1485"/>
                    </a:lnTo>
                    <a:lnTo>
                      <a:pt x="730" y="1485"/>
                    </a:lnTo>
                    <a:lnTo>
                      <a:pt x="729" y="1488"/>
                    </a:lnTo>
                    <a:lnTo>
                      <a:pt x="727" y="1492"/>
                    </a:lnTo>
                    <a:lnTo>
                      <a:pt x="724" y="1493"/>
                    </a:lnTo>
                    <a:lnTo>
                      <a:pt x="723" y="1493"/>
                    </a:lnTo>
                    <a:lnTo>
                      <a:pt x="722" y="1493"/>
                    </a:lnTo>
                    <a:lnTo>
                      <a:pt x="722" y="1495"/>
                    </a:lnTo>
                    <a:lnTo>
                      <a:pt x="720" y="1495"/>
                    </a:lnTo>
                    <a:lnTo>
                      <a:pt x="718" y="1495"/>
                    </a:lnTo>
                    <a:lnTo>
                      <a:pt x="717" y="1490"/>
                    </a:lnTo>
                    <a:lnTo>
                      <a:pt x="716" y="1488"/>
                    </a:lnTo>
                    <a:lnTo>
                      <a:pt x="715" y="1485"/>
                    </a:lnTo>
                    <a:lnTo>
                      <a:pt x="711" y="1484"/>
                    </a:lnTo>
                    <a:lnTo>
                      <a:pt x="710" y="1484"/>
                    </a:lnTo>
                    <a:lnTo>
                      <a:pt x="709" y="1485"/>
                    </a:lnTo>
                    <a:lnTo>
                      <a:pt x="707" y="1485"/>
                    </a:lnTo>
                    <a:lnTo>
                      <a:pt x="702" y="1488"/>
                    </a:lnTo>
                    <a:lnTo>
                      <a:pt x="700" y="1489"/>
                    </a:lnTo>
                    <a:lnTo>
                      <a:pt x="699" y="1489"/>
                    </a:lnTo>
                    <a:lnTo>
                      <a:pt x="698" y="1489"/>
                    </a:lnTo>
                    <a:lnTo>
                      <a:pt x="696" y="1488"/>
                    </a:lnTo>
                    <a:lnTo>
                      <a:pt x="695" y="1486"/>
                    </a:lnTo>
                    <a:lnTo>
                      <a:pt x="695" y="1488"/>
                    </a:lnTo>
                    <a:lnTo>
                      <a:pt x="693" y="1488"/>
                    </a:lnTo>
                    <a:lnTo>
                      <a:pt x="688" y="1489"/>
                    </a:lnTo>
                    <a:lnTo>
                      <a:pt x="686" y="1489"/>
                    </a:lnTo>
                    <a:lnTo>
                      <a:pt x="684" y="1490"/>
                    </a:lnTo>
                    <a:lnTo>
                      <a:pt x="685" y="1491"/>
                    </a:lnTo>
                    <a:lnTo>
                      <a:pt x="685" y="1492"/>
                    </a:lnTo>
                    <a:lnTo>
                      <a:pt x="684" y="1493"/>
                    </a:lnTo>
                    <a:lnTo>
                      <a:pt x="684" y="1495"/>
                    </a:lnTo>
                    <a:lnTo>
                      <a:pt x="682" y="1493"/>
                    </a:lnTo>
                    <a:lnTo>
                      <a:pt x="681" y="1492"/>
                    </a:lnTo>
                    <a:lnTo>
                      <a:pt x="680" y="1493"/>
                    </a:lnTo>
                    <a:lnTo>
                      <a:pt x="679" y="1493"/>
                    </a:lnTo>
                    <a:lnTo>
                      <a:pt x="673" y="1492"/>
                    </a:lnTo>
                    <a:lnTo>
                      <a:pt x="670" y="1492"/>
                    </a:lnTo>
                    <a:lnTo>
                      <a:pt x="668" y="1493"/>
                    </a:lnTo>
                    <a:lnTo>
                      <a:pt x="666" y="1495"/>
                    </a:lnTo>
                    <a:lnTo>
                      <a:pt x="665" y="1496"/>
                    </a:lnTo>
                    <a:lnTo>
                      <a:pt x="665" y="1497"/>
                    </a:lnTo>
                    <a:lnTo>
                      <a:pt x="666" y="1499"/>
                    </a:lnTo>
                    <a:lnTo>
                      <a:pt x="665" y="1500"/>
                    </a:lnTo>
                    <a:lnTo>
                      <a:pt x="664" y="1500"/>
                    </a:lnTo>
                    <a:lnTo>
                      <a:pt x="663" y="1499"/>
                    </a:lnTo>
                    <a:lnTo>
                      <a:pt x="663" y="1498"/>
                    </a:lnTo>
                    <a:lnTo>
                      <a:pt x="663" y="1499"/>
                    </a:lnTo>
                    <a:lnTo>
                      <a:pt x="661" y="1499"/>
                    </a:lnTo>
                    <a:lnTo>
                      <a:pt x="661" y="1500"/>
                    </a:lnTo>
                    <a:lnTo>
                      <a:pt x="656" y="1502"/>
                    </a:lnTo>
                    <a:lnTo>
                      <a:pt x="654" y="1500"/>
                    </a:lnTo>
                    <a:lnTo>
                      <a:pt x="656" y="1498"/>
                    </a:lnTo>
                    <a:lnTo>
                      <a:pt x="656" y="1497"/>
                    </a:lnTo>
                    <a:lnTo>
                      <a:pt x="654" y="1495"/>
                    </a:lnTo>
                    <a:lnTo>
                      <a:pt x="653" y="1492"/>
                    </a:lnTo>
                    <a:lnTo>
                      <a:pt x="653" y="1491"/>
                    </a:lnTo>
                    <a:lnTo>
                      <a:pt x="652" y="1490"/>
                    </a:lnTo>
                    <a:lnTo>
                      <a:pt x="651" y="1490"/>
                    </a:lnTo>
                    <a:lnTo>
                      <a:pt x="650" y="1488"/>
                    </a:lnTo>
                    <a:lnTo>
                      <a:pt x="649" y="1488"/>
                    </a:lnTo>
                    <a:lnTo>
                      <a:pt x="647" y="1488"/>
                    </a:lnTo>
                    <a:lnTo>
                      <a:pt x="644" y="1488"/>
                    </a:lnTo>
                    <a:lnTo>
                      <a:pt x="643" y="1489"/>
                    </a:lnTo>
                    <a:lnTo>
                      <a:pt x="642" y="1491"/>
                    </a:lnTo>
                    <a:lnTo>
                      <a:pt x="640" y="1492"/>
                    </a:lnTo>
                    <a:lnTo>
                      <a:pt x="639" y="1492"/>
                    </a:lnTo>
                    <a:lnTo>
                      <a:pt x="637" y="1493"/>
                    </a:lnTo>
                    <a:lnTo>
                      <a:pt x="636" y="1493"/>
                    </a:lnTo>
                    <a:lnTo>
                      <a:pt x="635" y="1493"/>
                    </a:lnTo>
                    <a:lnTo>
                      <a:pt x="634" y="1492"/>
                    </a:lnTo>
                    <a:lnTo>
                      <a:pt x="632" y="1492"/>
                    </a:lnTo>
                    <a:lnTo>
                      <a:pt x="631" y="1492"/>
                    </a:lnTo>
                    <a:lnTo>
                      <a:pt x="630" y="1491"/>
                    </a:lnTo>
                    <a:lnTo>
                      <a:pt x="629" y="1492"/>
                    </a:lnTo>
                    <a:lnTo>
                      <a:pt x="628" y="1493"/>
                    </a:lnTo>
                    <a:lnTo>
                      <a:pt x="627" y="1493"/>
                    </a:lnTo>
                    <a:lnTo>
                      <a:pt x="625" y="1492"/>
                    </a:lnTo>
                    <a:lnTo>
                      <a:pt x="624" y="1491"/>
                    </a:lnTo>
                    <a:lnTo>
                      <a:pt x="623" y="1491"/>
                    </a:lnTo>
                    <a:lnTo>
                      <a:pt x="621" y="1490"/>
                    </a:lnTo>
                    <a:lnTo>
                      <a:pt x="620" y="1490"/>
                    </a:lnTo>
                    <a:lnTo>
                      <a:pt x="618" y="1490"/>
                    </a:lnTo>
                    <a:lnTo>
                      <a:pt x="608" y="1491"/>
                    </a:lnTo>
                    <a:lnTo>
                      <a:pt x="607" y="1491"/>
                    </a:lnTo>
                    <a:lnTo>
                      <a:pt x="604" y="1492"/>
                    </a:lnTo>
                    <a:lnTo>
                      <a:pt x="602" y="1493"/>
                    </a:lnTo>
                    <a:lnTo>
                      <a:pt x="601" y="1493"/>
                    </a:lnTo>
                    <a:lnTo>
                      <a:pt x="599" y="1496"/>
                    </a:lnTo>
                    <a:lnTo>
                      <a:pt x="597" y="1496"/>
                    </a:lnTo>
                    <a:lnTo>
                      <a:pt x="596" y="1495"/>
                    </a:lnTo>
                    <a:lnTo>
                      <a:pt x="594" y="1495"/>
                    </a:lnTo>
                    <a:lnTo>
                      <a:pt x="593" y="1495"/>
                    </a:lnTo>
                    <a:lnTo>
                      <a:pt x="590" y="1496"/>
                    </a:lnTo>
                    <a:lnTo>
                      <a:pt x="589" y="1496"/>
                    </a:lnTo>
                    <a:lnTo>
                      <a:pt x="588" y="1497"/>
                    </a:lnTo>
                    <a:lnTo>
                      <a:pt x="587" y="1497"/>
                    </a:lnTo>
                    <a:lnTo>
                      <a:pt x="586" y="1497"/>
                    </a:lnTo>
                    <a:lnTo>
                      <a:pt x="585" y="1497"/>
                    </a:lnTo>
                    <a:lnTo>
                      <a:pt x="583" y="1497"/>
                    </a:lnTo>
                    <a:lnTo>
                      <a:pt x="580" y="1497"/>
                    </a:lnTo>
                    <a:lnTo>
                      <a:pt x="579" y="1497"/>
                    </a:lnTo>
                    <a:lnTo>
                      <a:pt x="576" y="1498"/>
                    </a:lnTo>
                    <a:lnTo>
                      <a:pt x="575" y="1499"/>
                    </a:lnTo>
                    <a:lnTo>
                      <a:pt x="574" y="1499"/>
                    </a:lnTo>
                    <a:lnTo>
                      <a:pt x="573" y="1500"/>
                    </a:lnTo>
                    <a:lnTo>
                      <a:pt x="563" y="1502"/>
                    </a:lnTo>
                    <a:lnTo>
                      <a:pt x="561" y="1502"/>
                    </a:lnTo>
                    <a:lnTo>
                      <a:pt x="561" y="1503"/>
                    </a:lnTo>
                    <a:lnTo>
                      <a:pt x="561" y="1504"/>
                    </a:lnTo>
                    <a:lnTo>
                      <a:pt x="560" y="1505"/>
                    </a:lnTo>
                    <a:lnTo>
                      <a:pt x="554" y="1507"/>
                    </a:lnTo>
                    <a:lnTo>
                      <a:pt x="552" y="1509"/>
                    </a:lnTo>
                    <a:lnTo>
                      <a:pt x="551" y="1507"/>
                    </a:lnTo>
                    <a:lnTo>
                      <a:pt x="545" y="1506"/>
                    </a:lnTo>
                    <a:lnTo>
                      <a:pt x="539" y="1506"/>
                    </a:lnTo>
                    <a:lnTo>
                      <a:pt x="538" y="1507"/>
                    </a:lnTo>
                    <a:lnTo>
                      <a:pt x="536" y="1509"/>
                    </a:lnTo>
                    <a:lnTo>
                      <a:pt x="535" y="1509"/>
                    </a:lnTo>
                    <a:lnTo>
                      <a:pt x="533" y="1509"/>
                    </a:lnTo>
                    <a:lnTo>
                      <a:pt x="531" y="1507"/>
                    </a:lnTo>
                    <a:lnTo>
                      <a:pt x="530" y="1507"/>
                    </a:lnTo>
                    <a:lnTo>
                      <a:pt x="529" y="1507"/>
                    </a:lnTo>
                    <a:lnTo>
                      <a:pt x="528" y="1507"/>
                    </a:lnTo>
                    <a:lnTo>
                      <a:pt x="526" y="1509"/>
                    </a:lnTo>
                    <a:lnTo>
                      <a:pt x="525" y="1510"/>
                    </a:lnTo>
                    <a:lnTo>
                      <a:pt x="524" y="1511"/>
                    </a:lnTo>
                    <a:lnTo>
                      <a:pt x="523" y="1511"/>
                    </a:lnTo>
                    <a:lnTo>
                      <a:pt x="519" y="1511"/>
                    </a:lnTo>
                    <a:lnTo>
                      <a:pt x="517" y="1513"/>
                    </a:lnTo>
                    <a:lnTo>
                      <a:pt x="516" y="1513"/>
                    </a:lnTo>
                    <a:lnTo>
                      <a:pt x="512" y="1518"/>
                    </a:lnTo>
                    <a:lnTo>
                      <a:pt x="511" y="1519"/>
                    </a:lnTo>
                    <a:lnTo>
                      <a:pt x="508" y="1521"/>
                    </a:lnTo>
                    <a:lnTo>
                      <a:pt x="507" y="1523"/>
                    </a:lnTo>
                    <a:lnTo>
                      <a:pt x="507" y="1524"/>
                    </a:lnTo>
                    <a:lnTo>
                      <a:pt x="506" y="1525"/>
                    </a:lnTo>
                    <a:lnTo>
                      <a:pt x="504" y="1525"/>
                    </a:lnTo>
                    <a:lnTo>
                      <a:pt x="504" y="1526"/>
                    </a:lnTo>
                    <a:lnTo>
                      <a:pt x="503" y="1531"/>
                    </a:lnTo>
                    <a:lnTo>
                      <a:pt x="502" y="1532"/>
                    </a:lnTo>
                    <a:lnTo>
                      <a:pt x="501" y="1533"/>
                    </a:lnTo>
                    <a:lnTo>
                      <a:pt x="500" y="1535"/>
                    </a:lnTo>
                    <a:lnTo>
                      <a:pt x="500" y="1538"/>
                    </a:lnTo>
                    <a:lnTo>
                      <a:pt x="500" y="1539"/>
                    </a:lnTo>
                    <a:lnTo>
                      <a:pt x="500" y="1541"/>
                    </a:lnTo>
                    <a:lnTo>
                      <a:pt x="501" y="1542"/>
                    </a:lnTo>
                    <a:lnTo>
                      <a:pt x="502" y="1542"/>
                    </a:lnTo>
                    <a:lnTo>
                      <a:pt x="504" y="1542"/>
                    </a:lnTo>
                    <a:lnTo>
                      <a:pt x="506" y="1544"/>
                    </a:lnTo>
                    <a:lnTo>
                      <a:pt x="504" y="1544"/>
                    </a:lnTo>
                    <a:lnTo>
                      <a:pt x="504" y="1545"/>
                    </a:lnTo>
                    <a:lnTo>
                      <a:pt x="502" y="1545"/>
                    </a:lnTo>
                    <a:lnTo>
                      <a:pt x="501" y="1546"/>
                    </a:lnTo>
                    <a:lnTo>
                      <a:pt x="499" y="1544"/>
                    </a:lnTo>
                    <a:lnTo>
                      <a:pt x="496" y="1544"/>
                    </a:lnTo>
                    <a:lnTo>
                      <a:pt x="495" y="1545"/>
                    </a:lnTo>
                    <a:lnTo>
                      <a:pt x="495" y="1547"/>
                    </a:lnTo>
                    <a:lnTo>
                      <a:pt x="495" y="1549"/>
                    </a:lnTo>
                    <a:lnTo>
                      <a:pt x="496" y="1551"/>
                    </a:lnTo>
                    <a:lnTo>
                      <a:pt x="495" y="1552"/>
                    </a:lnTo>
                    <a:lnTo>
                      <a:pt x="495" y="1553"/>
                    </a:lnTo>
                    <a:lnTo>
                      <a:pt x="494" y="1553"/>
                    </a:lnTo>
                    <a:lnTo>
                      <a:pt x="493" y="1552"/>
                    </a:lnTo>
                    <a:lnTo>
                      <a:pt x="493" y="1551"/>
                    </a:lnTo>
                    <a:lnTo>
                      <a:pt x="492" y="1549"/>
                    </a:lnTo>
                    <a:lnTo>
                      <a:pt x="490" y="1551"/>
                    </a:lnTo>
                    <a:lnTo>
                      <a:pt x="489" y="1551"/>
                    </a:lnTo>
                    <a:lnTo>
                      <a:pt x="489" y="1552"/>
                    </a:lnTo>
                    <a:lnTo>
                      <a:pt x="488" y="1552"/>
                    </a:lnTo>
                    <a:lnTo>
                      <a:pt x="488" y="1553"/>
                    </a:lnTo>
                    <a:lnTo>
                      <a:pt x="489" y="1555"/>
                    </a:lnTo>
                    <a:lnTo>
                      <a:pt x="488" y="1556"/>
                    </a:lnTo>
                    <a:lnTo>
                      <a:pt x="487" y="1556"/>
                    </a:lnTo>
                    <a:lnTo>
                      <a:pt x="486" y="1556"/>
                    </a:lnTo>
                    <a:lnTo>
                      <a:pt x="486" y="1555"/>
                    </a:lnTo>
                    <a:lnTo>
                      <a:pt x="485" y="1554"/>
                    </a:lnTo>
                    <a:lnTo>
                      <a:pt x="483" y="1554"/>
                    </a:lnTo>
                    <a:lnTo>
                      <a:pt x="482" y="1554"/>
                    </a:lnTo>
                    <a:lnTo>
                      <a:pt x="481" y="1554"/>
                    </a:lnTo>
                    <a:lnTo>
                      <a:pt x="480" y="1553"/>
                    </a:lnTo>
                    <a:lnTo>
                      <a:pt x="468" y="1553"/>
                    </a:lnTo>
                    <a:lnTo>
                      <a:pt x="467" y="1553"/>
                    </a:lnTo>
                    <a:lnTo>
                      <a:pt x="467" y="1554"/>
                    </a:lnTo>
                    <a:lnTo>
                      <a:pt x="466" y="1554"/>
                    </a:lnTo>
                    <a:lnTo>
                      <a:pt x="464" y="1554"/>
                    </a:lnTo>
                    <a:lnTo>
                      <a:pt x="462" y="1554"/>
                    </a:lnTo>
                    <a:lnTo>
                      <a:pt x="466" y="1556"/>
                    </a:lnTo>
                    <a:lnTo>
                      <a:pt x="465" y="1558"/>
                    </a:lnTo>
                    <a:lnTo>
                      <a:pt x="461" y="1559"/>
                    </a:lnTo>
                    <a:lnTo>
                      <a:pt x="460" y="1559"/>
                    </a:lnTo>
                    <a:lnTo>
                      <a:pt x="458" y="1561"/>
                    </a:lnTo>
                    <a:lnTo>
                      <a:pt x="457" y="1562"/>
                    </a:lnTo>
                    <a:lnTo>
                      <a:pt x="457" y="1563"/>
                    </a:lnTo>
                    <a:lnTo>
                      <a:pt x="458" y="1566"/>
                    </a:lnTo>
                    <a:lnTo>
                      <a:pt x="459" y="1566"/>
                    </a:lnTo>
                    <a:lnTo>
                      <a:pt x="458" y="1568"/>
                    </a:lnTo>
                    <a:lnTo>
                      <a:pt x="457" y="1569"/>
                    </a:lnTo>
                    <a:lnTo>
                      <a:pt x="454" y="1570"/>
                    </a:lnTo>
                    <a:lnTo>
                      <a:pt x="452" y="1572"/>
                    </a:lnTo>
                    <a:lnTo>
                      <a:pt x="451" y="1573"/>
                    </a:lnTo>
                    <a:lnTo>
                      <a:pt x="446" y="1574"/>
                    </a:lnTo>
                    <a:lnTo>
                      <a:pt x="444" y="1576"/>
                    </a:lnTo>
                    <a:lnTo>
                      <a:pt x="442" y="1577"/>
                    </a:lnTo>
                    <a:lnTo>
                      <a:pt x="440" y="1579"/>
                    </a:lnTo>
                    <a:lnTo>
                      <a:pt x="440" y="1581"/>
                    </a:lnTo>
                    <a:lnTo>
                      <a:pt x="439" y="1583"/>
                    </a:lnTo>
                    <a:lnTo>
                      <a:pt x="439" y="1584"/>
                    </a:lnTo>
                    <a:lnTo>
                      <a:pt x="439" y="1586"/>
                    </a:lnTo>
                    <a:lnTo>
                      <a:pt x="440" y="1588"/>
                    </a:lnTo>
                    <a:lnTo>
                      <a:pt x="440" y="1590"/>
                    </a:lnTo>
                    <a:lnTo>
                      <a:pt x="439" y="1590"/>
                    </a:lnTo>
                    <a:lnTo>
                      <a:pt x="437" y="1590"/>
                    </a:lnTo>
                    <a:lnTo>
                      <a:pt x="432" y="1591"/>
                    </a:lnTo>
                    <a:lnTo>
                      <a:pt x="431" y="1593"/>
                    </a:lnTo>
                    <a:lnTo>
                      <a:pt x="429" y="1594"/>
                    </a:lnTo>
                    <a:lnTo>
                      <a:pt x="426" y="1595"/>
                    </a:lnTo>
                    <a:lnTo>
                      <a:pt x="426" y="1596"/>
                    </a:lnTo>
                    <a:lnTo>
                      <a:pt x="428" y="1596"/>
                    </a:lnTo>
                    <a:lnTo>
                      <a:pt x="429" y="1597"/>
                    </a:lnTo>
                    <a:lnTo>
                      <a:pt x="430" y="1598"/>
                    </a:lnTo>
                    <a:lnTo>
                      <a:pt x="430" y="1600"/>
                    </a:lnTo>
                    <a:lnTo>
                      <a:pt x="429" y="1600"/>
                    </a:lnTo>
                    <a:lnTo>
                      <a:pt x="428" y="1600"/>
                    </a:lnTo>
                    <a:lnTo>
                      <a:pt x="424" y="1598"/>
                    </a:lnTo>
                    <a:lnTo>
                      <a:pt x="423" y="1598"/>
                    </a:lnTo>
                    <a:lnTo>
                      <a:pt x="421" y="1600"/>
                    </a:lnTo>
                    <a:lnTo>
                      <a:pt x="419" y="1601"/>
                    </a:lnTo>
                    <a:lnTo>
                      <a:pt x="418" y="1601"/>
                    </a:lnTo>
                    <a:lnTo>
                      <a:pt x="417" y="1601"/>
                    </a:lnTo>
                    <a:lnTo>
                      <a:pt x="416" y="1601"/>
                    </a:lnTo>
                    <a:lnTo>
                      <a:pt x="415" y="1601"/>
                    </a:lnTo>
                    <a:lnTo>
                      <a:pt x="415" y="1602"/>
                    </a:lnTo>
                    <a:lnTo>
                      <a:pt x="414" y="1602"/>
                    </a:lnTo>
                    <a:lnTo>
                      <a:pt x="414" y="1601"/>
                    </a:lnTo>
                    <a:lnTo>
                      <a:pt x="412" y="1601"/>
                    </a:lnTo>
                    <a:lnTo>
                      <a:pt x="412" y="1602"/>
                    </a:lnTo>
                    <a:lnTo>
                      <a:pt x="409" y="1603"/>
                    </a:lnTo>
                    <a:lnTo>
                      <a:pt x="408" y="1603"/>
                    </a:lnTo>
                    <a:lnTo>
                      <a:pt x="408" y="1604"/>
                    </a:lnTo>
                    <a:lnTo>
                      <a:pt x="409" y="1605"/>
                    </a:lnTo>
                    <a:lnTo>
                      <a:pt x="410" y="1607"/>
                    </a:lnTo>
                    <a:lnTo>
                      <a:pt x="411" y="1607"/>
                    </a:lnTo>
                    <a:lnTo>
                      <a:pt x="412" y="1607"/>
                    </a:lnTo>
                    <a:lnTo>
                      <a:pt x="412" y="1605"/>
                    </a:lnTo>
                    <a:lnTo>
                      <a:pt x="411" y="1604"/>
                    </a:lnTo>
                    <a:lnTo>
                      <a:pt x="412" y="1604"/>
                    </a:lnTo>
                    <a:lnTo>
                      <a:pt x="415" y="1607"/>
                    </a:lnTo>
                    <a:lnTo>
                      <a:pt x="416" y="1607"/>
                    </a:lnTo>
                    <a:lnTo>
                      <a:pt x="417" y="1607"/>
                    </a:lnTo>
                    <a:lnTo>
                      <a:pt x="418" y="1607"/>
                    </a:lnTo>
                    <a:lnTo>
                      <a:pt x="418" y="1608"/>
                    </a:lnTo>
                    <a:lnTo>
                      <a:pt x="417" y="1608"/>
                    </a:lnTo>
                    <a:lnTo>
                      <a:pt x="416" y="1609"/>
                    </a:lnTo>
                    <a:lnTo>
                      <a:pt x="415" y="1609"/>
                    </a:lnTo>
                    <a:lnTo>
                      <a:pt x="412" y="1609"/>
                    </a:lnTo>
                    <a:lnTo>
                      <a:pt x="410" y="1609"/>
                    </a:lnTo>
                    <a:lnTo>
                      <a:pt x="407" y="1607"/>
                    </a:lnTo>
                    <a:lnTo>
                      <a:pt x="403" y="1605"/>
                    </a:lnTo>
                    <a:lnTo>
                      <a:pt x="398" y="1605"/>
                    </a:lnTo>
                    <a:lnTo>
                      <a:pt x="398" y="1607"/>
                    </a:lnTo>
                    <a:lnTo>
                      <a:pt x="396" y="1607"/>
                    </a:lnTo>
                    <a:lnTo>
                      <a:pt x="396" y="1609"/>
                    </a:lnTo>
                    <a:lnTo>
                      <a:pt x="396" y="1610"/>
                    </a:lnTo>
                    <a:lnTo>
                      <a:pt x="396" y="1612"/>
                    </a:lnTo>
                    <a:lnTo>
                      <a:pt x="394" y="1612"/>
                    </a:lnTo>
                    <a:lnTo>
                      <a:pt x="390" y="1610"/>
                    </a:lnTo>
                    <a:lnTo>
                      <a:pt x="388" y="1610"/>
                    </a:lnTo>
                    <a:lnTo>
                      <a:pt x="387" y="1610"/>
                    </a:lnTo>
                    <a:lnTo>
                      <a:pt x="386" y="1610"/>
                    </a:lnTo>
                    <a:lnTo>
                      <a:pt x="382" y="1608"/>
                    </a:lnTo>
                    <a:lnTo>
                      <a:pt x="381" y="1608"/>
                    </a:lnTo>
                    <a:lnTo>
                      <a:pt x="380" y="1607"/>
                    </a:lnTo>
                    <a:lnTo>
                      <a:pt x="379" y="1607"/>
                    </a:lnTo>
                    <a:lnTo>
                      <a:pt x="378" y="1607"/>
                    </a:lnTo>
                    <a:lnTo>
                      <a:pt x="378" y="1608"/>
                    </a:lnTo>
                    <a:lnTo>
                      <a:pt x="376" y="1608"/>
                    </a:lnTo>
                    <a:lnTo>
                      <a:pt x="374" y="1607"/>
                    </a:lnTo>
                    <a:lnTo>
                      <a:pt x="373" y="1607"/>
                    </a:lnTo>
                    <a:lnTo>
                      <a:pt x="372" y="1607"/>
                    </a:lnTo>
                    <a:lnTo>
                      <a:pt x="372" y="1608"/>
                    </a:lnTo>
                    <a:lnTo>
                      <a:pt x="371" y="1608"/>
                    </a:lnTo>
                    <a:lnTo>
                      <a:pt x="369" y="1607"/>
                    </a:lnTo>
                    <a:lnTo>
                      <a:pt x="368" y="1608"/>
                    </a:lnTo>
                    <a:lnTo>
                      <a:pt x="367" y="1609"/>
                    </a:lnTo>
                    <a:lnTo>
                      <a:pt x="367" y="1611"/>
                    </a:lnTo>
                    <a:lnTo>
                      <a:pt x="366" y="1611"/>
                    </a:lnTo>
                    <a:lnTo>
                      <a:pt x="365" y="1610"/>
                    </a:lnTo>
                    <a:lnTo>
                      <a:pt x="364" y="1610"/>
                    </a:lnTo>
                    <a:lnTo>
                      <a:pt x="362" y="1610"/>
                    </a:lnTo>
                    <a:lnTo>
                      <a:pt x="361" y="1609"/>
                    </a:lnTo>
                    <a:lnTo>
                      <a:pt x="360" y="1609"/>
                    </a:lnTo>
                    <a:lnTo>
                      <a:pt x="359" y="1610"/>
                    </a:lnTo>
                    <a:lnTo>
                      <a:pt x="358" y="1610"/>
                    </a:lnTo>
                    <a:lnTo>
                      <a:pt x="357" y="1609"/>
                    </a:lnTo>
                    <a:lnTo>
                      <a:pt x="355" y="1609"/>
                    </a:lnTo>
                    <a:lnTo>
                      <a:pt x="354" y="1610"/>
                    </a:lnTo>
                    <a:lnTo>
                      <a:pt x="353" y="1611"/>
                    </a:lnTo>
                    <a:lnTo>
                      <a:pt x="352" y="1612"/>
                    </a:lnTo>
                    <a:lnTo>
                      <a:pt x="351" y="1612"/>
                    </a:lnTo>
                    <a:lnTo>
                      <a:pt x="348" y="1612"/>
                    </a:lnTo>
                    <a:lnTo>
                      <a:pt x="345" y="1611"/>
                    </a:lnTo>
                    <a:lnTo>
                      <a:pt x="343" y="1611"/>
                    </a:lnTo>
                    <a:lnTo>
                      <a:pt x="343" y="1610"/>
                    </a:lnTo>
                    <a:lnTo>
                      <a:pt x="341" y="1611"/>
                    </a:lnTo>
                    <a:lnTo>
                      <a:pt x="341" y="1612"/>
                    </a:lnTo>
                    <a:lnTo>
                      <a:pt x="338" y="1612"/>
                    </a:lnTo>
                    <a:lnTo>
                      <a:pt x="337" y="1614"/>
                    </a:lnTo>
                    <a:lnTo>
                      <a:pt x="337" y="1615"/>
                    </a:lnTo>
                    <a:lnTo>
                      <a:pt x="336" y="1614"/>
                    </a:lnTo>
                    <a:lnTo>
                      <a:pt x="333" y="1612"/>
                    </a:lnTo>
                    <a:lnTo>
                      <a:pt x="330" y="1612"/>
                    </a:lnTo>
                    <a:lnTo>
                      <a:pt x="329" y="1612"/>
                    </a:lnTo>
                    <a:lnTo>
                      <a:pt x="327" y="1612"/>
                    </a:lnTo>
                    <a:lnTo>
                      <a:pt x="326" y="1612"/>
                    </a:lnTo>
                    <a:lnTo>
                      <a:pt x="325" y="1612"/>
                    </a:lnTo>
                    <a:lnTo>
                      <a:pt x="324" y="1610"/>
                    </a:lnTo>
                    <a:lnTo>
                      <a:pt x="322" y="1609"/>
                    </a:lnTo>
                    <a:lnTo>
                      <a:pt x="319" y="1608"/>
                    </a:lnTo>
                    <a:lnTo>
                      <a:pt x="320" y="1608"/>
                    </a:lnTo>
                    <a:lnTo>
                      <a:pt x="325" y="1608"/>
                    </a:lnTo>
                    <a:lnTo>
                      <a:pt x="326" y="1608"/>
                    </a:lnTo>
                    <a:lnTo>
                      <a:pt x="327" y="1608"/>
                    </a:lnTo>
                    <a:lnTo>
                      <a:pt x="327" y="1607"/>
                    </a:lnTo>
                    <a:lnTo>
                      <a:pt x="326" y="1607"/>
                    </a:lnTo>
                    <a:lnTo>
                      <a:pt x="325" y="1605"/>
                    </a:lnTo>
                    <a:lnTo>
                      <a:pt x="324" y="1605"/>
                    </a:lnTo>
                    <a:lnTo>
                      <a:pt x="323" y="1604"/>
                    </a:lnTo>
                    <a:lnTo>
                      <a:pt x="322" y="1604"/>
                    </a:lnTo>
                    <a:lnTo>
                      <a:pt x="320" y="1603"/>
                    </a:lnTo>
                    <a:lnTo>
                      <a:pt x="319" y="1603"/>
                    </a:lnTo>
                    <a:lnTo>
                      <a:pt x="320" y="1605"/>
                    </a:lnTo>
                    <a:lnTo>
                      <a:pt x="319" y="1607"/>
                    </a:lnTo>
                    <a:lnTo>
                      <a:pt x="317" y="1607"/>
                    </a:lnTo>
                    <a:lnTo>
                      <a:pt x="315" y="1607"/>
                    </a:lnTo>
                    <a:lnTo>
                      <a:pt x="311" y="1605"/>
                    </a:lnTo>
                    <a:lnTo>
                      <a:pt x="302" y="1603"/>
                    </a:lnTo>
                    <a:lnTo>
                      <a:pt x="297" y="1603"/>
                    </a:lnTo>
                    <a:lnTo>
                      <a:pt x="297" y="1604"/>
                    </a:lnTo>
                    <a:lnTo>
                      <a:pt x="296" y="1604"/>
                    </a:lnTo>
                    <a:lnTo>
                      <a:pt x="295" y="1604"/>
                    </a:lnTo>
                    <a:lnTo>
                      <a:pt x="295" y="1603"/>
                    </a:lnTo>
                    <a:lnTo>
                      <a:pt x="295" y="1602"/>
                    </a:lnTo>
                    <a:lnTo>
                      <a:pt x="294" y="1601"/>
                    </a:lnTo>
                    <a:lnTo>
                      <a:pt x="293" y="1600"/>
                    </a:lnTo>
                    <a:lnTo>
                      <a:pt x="291" y="1596"/>
                    </a:lnTo>
                    <a:lnTo>
                      <a:pt x="290" y="1595"/>
                    </a:lnTo>
                    <a:lnTo>
                      <a:pt x="288" y="1594"/>
                    </a:lnTo>
                    <a:lnTo>
                      <a:pt x="279" y="1586"/>
                    </a:lnTo>
                    <a:lnTo>
                      <a:pt x="269" y="1580"/>
                    </a:lnTo>
                    <a:lnTo>
                      <a:pt x="267" y="1579"/>
                    </a:lnTo>
                    <a:lnTo>
                      <a:pt x="265" y="1579"/>
                    </a:lnTo>
                    <a:lnTo>
                      <a:pt x="263" y="1577"/>
                    </a:lnTo>
                    <a:lnTo>
                      <a:pt x="262" y="1576"/>
                    </a:lnTo>
                    <a:lnTo>
                      <a:pt x="261" y="1576"/>
                    </a:lnTo>
                    <a:lnTo>
                      <a:pt x="251" y="1573"/>
                    </a:lnTo>
                    <a:lnTo>
                      <a:pt x="248" y="1572"/>
                    </a:lnTo>
                    <a:lnTo>
                      <a:pt x="247" y="1572"/>
                    </a:lnTo>
                    <a:lnTo>
                      <a:pt x="243" y="1573"/>
                    </a:lnTo>
                    <a:lnTo>
                      <a:pt x="241" y="1574"/>
                    </a:lnTo>
                    <a:lnTo>
                      <a:pt x="240" y="1576"/>
                    </a:lnTo>
                    <a:lnTo>
                      <a:pt x="239" y="1577"/>
                    </a:lnTo>
                    <a:lnTo>
                      <a:pt x="238" y="1576"/>
                    </a:lnTo>
                    <a:lnTo>
                      <a:pt x="232" y="1572"/>
                    </a:lnTo>
                    <a:lnTo>
                      <a:pt x="231" y="1570"/>
                    </a:lnTo>
                    <a:lnTo>
                      <a:pt x="231" y="1568"/>
                    </a:lnTo>
                    <a:lnTo>
                      <a:pt x="231" y="1566"/>
                    </a:lnTo>
                    <a:lnTo>
                      <a:pt x="230" y="1565"/>
                    </a:lnTo>
                    <a:lnTo>
                      <a:pt x="230" y="1563"/>
                    </a:lnTo>
                    <a:lnTo>
                      <a:pt x="227" y="1560"/>
                    </a:lnTo>
                    <a:lnTo>
                      <a:pt x="227" y="1559"/>
                    </a:lnTo>
                    <a:lnTo>
                      <a:pt x="226" y="1558"/>
                    </a:lnTo>
                    <a:lnTo>
                      <a:pt x="225" y="1547"/>
                    </a:lnTo>
                    <a:lnTo>
                      <a:pt x="224" y="1545"/>
                    </a:lnTo>
                    <a:lnTo>
                      <a:pt x="224" y="1542"/>
                    </a:lnTo>
                    <a:lnTo>
                      <a:pt x="224" y="1541"/>
                    </a:lnTo>
                    <a:lnTo>
                      <a:pt x="224" y="1538"/>
                    </a:lnTo>
                    <a:lnTo>
                      <a:pt x="225" y="1537"/>
                    </a:lnTo>
                    <a:lnTo>
                      <a:pt x="223" y="1535"/>
                    </a:lnTo>
                    <a:lnTo>
                      <a:pt x="222" y="1533"/>
                    </a:lnTo>
                    <a:lnTo>
                      <a:pt x="222" y="1530"/>
                    </a:lnTo>
                    <a:lnTo>
                      <a:pt x="222" y="1528"/>
                    </a:lnTo>
                    <a:lnTo>
                      <a:pt x="224" y="1526"/>
                    </a:lnTo>
                    <a:lnTo>
                      <a:pt x="224" y="1525"/>
                    </a:lnTo>
                    <a:lnTo>
                      <a:pt x="224" y="1524"/>
                    </a:lnTo>
                    <a:lnTo>
                      <a:pt x="222" y="1519"/>
                    </a:lnTo>
                    <a:lnTo>
                      <a:pt x="222" y="1518"/>
                    </a:lnTo>
                    <a:lnTo>
                      <a:pt x="223" y="1518"/>
                    </a:lnTo>
                    <a:lnTo>
                      <a:pt x="225" y="1519"/>
                    </a:lnTo>
                    <a:lnTo>
                      <a:pt x="227" y="1520"/>
                    </a:lnTo>
                    <a:lnTo>
                      <a:pt x="229" y="1523"/>
                    </a:lnTo>
                    <a:lnTo>
                      <a:pt x="231" y="1524"/>
                    </a:lnTo>
                    <a:lnTo>
                      <a:pt x="233" y="1525"/>
                    </a:lnTo>
                    <a:lnTo>
                      <a:pt x="236" y="1525"/>
                    </a:lnTo>
                    <a:lnTo>
                      <a:pt x="238" y="1525"/>
                    </a:lnTo>
                    <a:lnTo>
                      <a:pt x="241" y="1525"/>
                    </a:lnTo>
                    <a:lnTo>
                      <a:pt x="244" y="1524"/>
                    </a:lnTo>
                    <a:lnTo>
                      <a:pt x="246" y="1523"/>
                    </a:lnTo>
                    <a:lnTo>
                      <a:pt x="248" y="1521"/>
                    </a:lnTo>
                    <a:lnTo>
                      <a:pt x="250" y="1519"/>
                    </a:lnTo>
                    <a:lnTo>
                      <a:pt x="253" y="1513"/>
                    </a:lnTo>
                    <a:lnTo>
                      <a:pt x="256" y="1506"/>
                    </a:lnTo>
                    <a:lnTo>
                      <a:pt x="258" y="1502"/>
                    </a:lnTo>
                    <a:lnTo>
                      <a:pt x="258" y="1498"/>
                    </a:lnTo>
                    <a:lnTo>
                      <a:pt x="258" y="1497"/>
                    </a:lnTo>
                    <a:lnTo>
                      <a:pt x="259" y="1496"/>
                    </a:lnTo>
                    <a:lnTo>
                      <a:pt x="260" y="1497"/>
                    </a:lnTo>
                    <a:lnTo>
                      <a:pt x="261" y="1497"/>
                    </a:lnTo>
                    <a:lnTo>
                      <a:pt x="262" y="1496"/>
                    </a:lnTo>
                    <a:lnTo>
                      <a:pt x="262" y="1493"/>
                    </a:lnTo>
                    <a:lnTo>
                      <a:pt x="262" y="1489"/>
                    </a:lnTo>
                    <a:lnTo>
                      <a:pt x="261" y="1488"/>
                    </a:lnTo>
                    <a:lnTo>
                      <a:pt x="261" y="1489"/>
                    </a:lnTo>
                    <a:lnTo>
                      <a:pt x="261" y="1491"/>
                    </a:lnTo>
                    <a:lnTo>
                      <a:pt x="261" y="1495"/>
                    </a:lnTo>
                    <a:lnTo>
                      <a:pt x="260" y="1495"/>
                    </a:lnTo>
                    <a:lnTo>
                      <a:pt x="259" y="1483"/>
                    </a:lnTo>
                    <a:lnTo>
                      <a:pt x="258" y="1476"/>
                    </a:lnTo>
                    <a:lnTo>
                      <a:pt x="256" y="1470"/>
                    </a:lnTo>
                    <a:lnTo>
                      <a:pt x="253" y="1461"/>
                    </a:lnTo>
                    <a:lnTo>
                      <a:pt x="251" y="1455"/>
                    </a:lnTo>
                    <a:lnTo>
                      <a:pt x="250" y="1453"/>
                    </a:lnTo>
                    <a:lnTo>
                      <a:pt x="250" y="1450"/>
                    </a:lnTo>
                    <a:lnTo>
                      <a:pt x="250" y="1448"/>
                    </a:lnTo>
                    <a:lnTo>
                      <a:pt x="251" y="1446"/>
                    </a:lnTo>
                    <a:lnTo>
                      <a:pt x="253" y="1441"/>
                    </a:lnTo>
                    <a:lnTo>
                      <a:pt x="254" y="1439"/>
                    </a:lnTo>
                    <a:lnTo>
                      <a:pt x="254" y="1442"/>
                    </a:lnTo>
                    <a:lnTo>
                      <a:pt x="252" y="1447"/>
                    </a:lnTo>
                    <a:lnTo>
                      <a:pt x="252" y="1450"/>
                    </a:lnTo>
                    <a:lnTo>
                      <a:pt x="254" y="1455"/>
                    </a:lnTo>
                    <a:lnTo>
                      <a:pt x="256" y="1457"/>
                    </a:lnTo>
                    <a:lnTo>
                      <a:pt x="258" y="1458"/>
                    </a:lnTo>
                    <a:lnTo>
                      <a:pt x="258" y="1457"/>
                    </a:lnTo>
                    <a:lnTo>
                      <a:pt x="258" y="1455"/>
                    </a:lnTo>
                    <a:lnTo>
                      <a:pt x="255" y="1453"/>
                    </a:lnTo>
                    <a:lnTo>
                      <a:pt x="255" y="1451"/>
                    </a:lnTo>
                    <a:lnTo>
                      <a:pt x="254" y="1451"/>
                    </a:lnTo>
                    <a:lnTo>
                      <a:pt x="254" y="1450"/>
                    </a:lnTo>
                    <a:lnTo>
                      <a:pt x="254" y="1449"/>
                    </a:lnTo>
                    <a:lnTo>
                      <a:pt x="253" y="1448"/>
                    </a:lnTo>
                    <a:lnTo>
                      <a:pt x="253" y="1447"/>
                    </a:lnTo>
                    <a:lnTo>
                      <a:pt x="254" y="1447"/>
                    </a:lnTo>
                    <a:lnTo>
                      <a:pt x="255" y="1448"/>
                    </a:lnTo>
                    <a:lnTo>
                      <a:pt x="259" y="1448"/>
                    </a:lnTo>
                    <a:lnTo>
                      <a:pt x="259" y="1447"/>
                    </a:lnTo>
                    <a:lnTo>
                      <a:pt x="259" y="1444"/>
                    </a:lnTo>
                    <a:lnTo>
                      <a:pt x="259" y="1443"/>
                    </a:lnTo>
                    <a:lnTo>
                      <a:pt x="258" y="1442"/>
                    </a:lnTo>
                    <a:lnTo>
                      <a:pt x="256" y="1442"/>
                    </a:lnTo>
                    <a:lnTo>
                      <a:pt x="255" y="1442"/>
                    </a:lnTo>
                    <a:lnTo>
                      <a:pt x="255" y="1441"/>
                    </a:lnTo>
                    <a:lnTo>
                      <a:pt x="255" y="1440"/>
                    </a:lnTo>
                    <a:lnTo>
                      <a:pt x="255" y="1437"/>
                    </a:lnTo>
                    <a:lnTo>
                      <a:pt x="256" y="1437"/>
                    </a:lnTo>
                    <a:lnTo>
                      <a:pt x="256" y="1434"/>
                    </a:lnTo>
                    <a:lnTo>
                      <a:pt x="255" y="1432"/>
                    </a:lnTo>
                    <a:lnTo>
                      <a:pt x="254" y="1429"/>
                    </a:lnTo>
                    <a:lnTo>
                      <a:pt x="253" y="1428"/>
                    </a:lnTo>
                    <a:lnTo>
                      <a:pt x="254" y="1427"/>
                    </a:lnTo>
                    <a:lnTo>
                      <a:pt x="254" y="1426"/>
                    </a:lnTo>
                    <a:lnTo>
                      <a:pt x="254" y="1425"/>
                    </a:lnTo>
                    <a:lnTo>
                      <a:pt x="253" y="1423"/>
                    </a:lnTo>
                    <a:lnTo>
                      <a:pt x="251" y="1423"/>
                    </a:lnTo>
                    <a:lnTo>
                      <a:pt x="250" y="1422"/>
                    </a:lnTo>
                    <a:lnTo>
                      <a:pt x="253" y="1421"/>
                    </a:lnTo>
                    <a:lnTo>
                      <a:pt x="254" y="1419"/>
                    </a:lnTo>
                    <a:lnTo>
                      <a:pt x="254" y="1418"/>
                    </a:lnTo>
                    <a:lnTo>
                      <a:pt x="254" y="1415"/>
                    </a:lnTo>
                    <a:lnTo>
                      <a:pt x="254" y="1413"/>
                    </a:lnTo>
                    <a:lnTo>
                      <a:pt x="253" y="1413"/>
                    </a:lnTo>
                    <a:lnTo>
                      <a:pt x="253" y="1412"/>
                    </a:lnTo>
                    <a:lnTo>
                      <a:pt x="252" y="1411"/>
                    </a:lnTo>
                    <a:lnTo>
                      <a:pt x="252" y="1409"/>
                    </a:lnTo>
                    <a:lnTo>
                      <a:pt x="252" y="1408"/>
                    </a:lnTo>
                    <a:lnTo>
                      <a:pt x="251" y="1407"/>
                    </a:lnTo>
                    <a:lnTo>
                      <a:pt x="251" y="1406"/>
                    </a:lnTo>
                    <a:lnTo>
                      <a:pt x="251" y="1397"/>
                    </a:lnTo>
                    <a:lnTo>
                      <a:pt x="247" y="1385"/>
                    </a:lnTo>
                    <a:lnTo>
                      <a:pt x="245" y="1380"/>
                    </a:lnTo>
                    <a:lnTo>
                      <a:pt x="244" y="1377"/>
                    </a:lnTo>
                    <a:lnTo>
                      <a:pt x="238" y="1370"/>
                    </a:lnTo>
                    <a:lnTo>
                      <a:pt x="233" y="1363"/>
                    </a:lnTo>
                    <a:lnTo>
                      <a:pt x="226" y="1355"/>
                    </a:lnTo>
                    <a:lnTo>
                      <a:pt x="220" y="1343"/>
                    </a:lnTo>
                    <a:lnTo>
                      <a:pt x="215" y="1333"/>
                    </a:lnTo>
                    <a:lnTo>
                      <a:pt x="209" y="1326"/>
                    </a:lnTo>
                    <a:lnTo>
                      <a:pt x="204" y="1322"/>
                    </a:lnTo>
                    <a:lnTo>
                      <a:pt x="203" y="1319"/>
                    </a:lnTo>
                    <a:lnTo>
                      <a:pt x="203" y="1317"/>
                    </a:lnTo>
                    <a:lnTo>
                      <a:pt x="202" y="1316"/>
                    </a:lnTo>
                    <a:lnTo>
                      <a:pt x="197" y="1309"/>
                    </a:lnTo>
                    <a:lnTo>
                      <a:pt x="196" y="1307"/>
                    </a:lnTo>
                    <a:lnTo>
                      <a:pt x="194" y="1302"/>
                    </a:lnTo>
                    <a:lnTo>
                      <a:pt x="192" y="1301"/>
                    </a:lnTo>
                    <a:lnTo>
                      <a:pt x="192" y="1298"/>
                    </a:lnTo>
                    <a:lnTo>
                      <a:pt x="192" y="1296"/>
                    </a:lnTo>
                    <a:lnTo>
                      <a:pt x="190" y="1291"/>
                    </a:lnTo>
                    <a:lnTo>
                      <a:pt x="189" y="1289"/>
                    </a:lnTo>
                    <a:lnTo>
                      <a:pt x="189" y="1288"/>
                    </a:lnTo>
                    <a:lnTo>
                      <a:pt x="188" y="1288"/>
                    </a:lnTo>
                    <a:lnTo>
                      <a:pt x="188" y="1287"/>
                    </a:lnTo>
                    <a:lnTo>
                      <a:pt x="189" y="1286"/>
                    </a:lnTo>
                    <a:lnTo>
                      <a:pt x="188" y="1285"/>
                    </a:lnTo>
                    <a:lnTo>
                      <a:pt x="188" y="1284"/>
                    </a:lnTo>
                    <a:lnTo>
                      <a:pt x="188" y="1282"/>
                    </a:lnTo>
                    <a:lnTo>
                      <a:pt x="187" y="1282"/>
                    </a:lnTo>
                    <a:lnTo>
                      <a:pt x="186" y="1282"/>
                    </a:lnTo>
                    <a:lnTo>
                      <a:pt x="186" y="1281"/>
                    </a:lnTo>
                    <a:lnTo>
                      <a:pt x="184" y="1280"/>
                    </a:lnTo>
                    <a:lnTo>
                      <a:pt x="184" y="1279"/>
                    </a:lnTo>
                    <a:lnTo>
                      <a:pt x="184" y="1277"/>
                    </a:lnTo>
                    <a:lnTo>
                      <a:pt x="184" y="1275"/>
                    </a:lnTo>
                    <a:lnTo>
                      <a:pt x="184" y="1274"/>
                    </a:lnTo>
                    <a:lnTo>
                      <a:pt x="183" y="1273"/>
                    </a:lnTo>
                    <a:lnTo>
                      <a:pt x="183" y="1272"/>
                    </a:lnTo>
                    <a:lnTo>
                      <a:pt x="182" y="1271"/>
                    </a:lnTo>
                    <a:lnTo>
                      <a:pt x="181" y="1270"/>
                    </a:lnTo>
                    <a:lnTo>
                      <a:pt x="181" y="1267"/>
                    </a:lnTo>
                    <a:lnTo>
                      <a:pt x="181" y="1258"/>
                    </a:lnTo>
                    <a:lnTo>
                      <a:pt x="181" y="1257"/>
                    </a:lnTo>
                    <a:lnTo>
                      <a:pt x="180" y="1254"/>
                    </a:lnTo>
                    <a:lnTo>
                      <a:pt x="179" y="1253"/>
                    </a:lnTo>
                    <a:lnTo>
                      <a:pt x="177" y="1247"/>
                    </a:lnTo>
                    <a:lnTo>
                      <a:pt x="177" y="1240"/>
                    </a:lnTo>
                    <a:lnTo>
                      <a:pt x="177" y="1235"/>
                    </a:lnTo>
                    <a:lnTo>
                      <a:pt x="177" y="1231"/>
                    </a:lnTo>
                    <a:lnTo>
                      <a:pt x="177" y="1229"/>
                    </a:lnTo>
                    <a:lnTo>
                      <a:pt x="177" y="1228"/>
                    </a:lnTo>
                    <a:lnTo>
                      <a:pt x="175" y="1224"/>
                    </a:lnTo>
                    <a:lnTo>
                      <a:pt x="174" y="1222"/>
                    </a:lnTo>
                    <a:lnTo>
                      <a:pt x="173" y="1219"/>
                    </a:lnTo>
                    <a:lnTo>
                      <a:pt x="173" y="1218"/>
                    </a:lnTo>
                    <a:lnTo>
                      <a:pt x="173" y="1217"/>
                    </a:lnTo>
                    <a:lnTo>
                      <a:pt x="170" y="1215"/>
                    </a:lnTo>
                    <a:lnTo>
                      <a:pt x="169" y="1211"/>
                    </a:lnTo>
                    <a:lnTo>
                      <a:pt x="165" y="1202"/>
                    </a:lnTo>
                    <a:lnTo>
                      <a:pt x="163" y="1201"/>
                    </a:lnTo>
                    <a:lnTo>
                      <a:pt x="151" y="1190"/>
                    </a:lnTo>
                    <a:lnTo>
                      <a:pt x="149" y="1189"/>
                    </a:lnTo>
                    <a:lnTo>
                      <a:pt x="147" y="1187"/>
                    </a:lnTo>
                    <a:lnTo>
                      <a:pt x="146" y="1186"/>
                    </a:lnTo>
                    <a:lnTo>
                      <a:pt x="145" y="1182"/>
                    </a:lnTo>
                    <a:lnTo>
                      <a:pt x="144" y="1182"/>
                    </a:lnTo>
                    <a:lnTo>
                      <a:pt x="145" y="1179"/>
                    </a:lnTo>
                    <a:lnTo>
                      <a:pt x="145" y="1175"/>
                    </a:lnTo>
                    <a:lnTo>
                      <a:pt x="144" y="1173"/>
                    </a:lnTo>
                    <a:lnTo>
                      <a:pt x="138" y="1163"/>
                    </a:lnTo>
                    <a:lnTo>
                      <a:pt x="137" y="1161"/>
                    </a:lnTo>
                    <a:lnTo>
                      <a:pt x="130" y="1155"/>
                    </a:lnTo>
                    <a:lnTo>
                      <a:pt x="126" y="1151"/>
                    </a:lnTo>
                    <a:lnTo>
                      <a:pt x="125" y="1149"/>
                    </a:lnTo>
                    <a:lnTo>
                      <a:pt x="125" y="1148"/>
                    </a:lnTo>
                    <a:lnTo>
                      <a:pt x="120" y="1145"/>
                    </a:lnTo>
                    <a:lnTo>
                      <a:pt x="120" y="1144"/>
                    </a:lnTo>
                    <a:lnTo>
                      <a:pt x="118" y="1144"/>
                    </a:lnTo>
                    <a:lnTo>
                      <a:pt x="117" y="1142"/>
                    </a:lnTo>
                    <a:lnTo>
                      <a:pt x="110" y="1138"/>
                    </a:lnTo>
                    <a:lnTo>
                      <a:pt x="110" y="1135"/>
                    </a:lnTo>
                    <a:lnTo>
                      <a:pt x="109" y="1134"/>
                    </a:lnTo>
                    <a:lnTo>
                      <a:pt x="109" y="1132"/>
                    </a:lnTo>
                    <a:lnTo>
                      <a:pt x="108" y="1131"/>
                    </a:lnTo>
                    <a:lnTo>
                      <a:pt x="104" y="1124"/>
                    </a:lnTo>
                    <a:lnTo>
                      <a:pt x="103" y="1120"/>
                    </a:lnTo>
                    <a:lnTo>
                      <a:pt x="103" y="1118"/>
                    </a:lnTo>
                    <a:lnTo>
                      <a:pt x="103" y="1116"/>
                    </a:lnTo>
                    <a:lnTo>
                      <a:pt x="104" y="1113"/>
                    </a:lnTo>
                    <a:lnTo>
                      <a:pt x="104" y="1111"/>
                    </a:lnTo>
                    <a:lnTo>
                      <a:pt x="104" y="1109"/>
                    </a:lnTo>
                    <a:lnTo>
                      <a:pt x="104" y="1107"/>
                    </a:lnTo>
                    <a:lnTo>
                      <a:pt x="97" y="1091"/>
                    </a:lnTo>
                    <a:lnTo>
                      <a:pt x="91" y="1082"/>
                    </a:lnTo>
                    <a:lnTo>
                      <a:pt x="84" y="1072"/>
                    </a:lnTo>
                    <a:lnTo>
                      <a:pt x="71" y="1056"/>
                    </a:lnTo>
                    <a:lnTo>
                      <a:pt x="62" y="1047"/>
                    </a:lnTo>
                    <a:lnTo>
                      <a:pt x="58" y="1041"/>
                    </a:lnTo>
                    <a:lnTo>
                      <a:pt x="53" y="1037"/>
                    </a:lnTo>
                    <a:lnTo>
                      <a:pt x="48" y="1034"/>
                    </a:lnTo>
                    <a:lnTo>
                      <a:pt x="40" y="1027"/>
                    </a:lnTo>
                    <a:lnTo>
                      <a:pt x="39" y="1027"/>
                    </a:lnTo>
                    <a:lnTo>
                      <a:pt x="37" y="1025"/>
                    </a:lnTo>
                    <a:lnTo>
                      <a:pt x="35" y="1023"/>
                    </a:lnTo>
                    <a:lnTo>
                      <a:pt x="35" y="1022"/>
                    </a:lnTo>
                    <a:lnTo>
                      <a:pt x="34" y="1021"/>
                    </a:lnTo>
                    <a:lnTo>
                      <a:pt x="34" y="1020"/>
                    </a:lnTo>
                    <a:lnTo>
                      <a:pt x="33" y="1019"/>
                    </a:lnTo>
                    <a:lnTo>
                      <a:pt x="32" y="1016"/>
                    </a:lnTo>
                    <a:lnTo>
                      <a:pt x="30" y="1013"/>
                    </a:lnTo>
                    <a:lnTo>
                      <a:pt x="27" y="1012"/>
                    </a:lnTo>
                    <a:lnTo>
                      <a:pt x="25" y="1009"/>
                    </a:lnTo>
                    <a:lnTo>
                      <a:pt x="23" y="1008"/>
                    </a:lnTo>
                    <a:lnTo>
                      <a:pt x="24" y="1007"/>
                    </a:lnTo>
                    <a:lnTo>
                      <a:pt x="25" y="1008"/>
                    </a:lnTo>
                    <a:lnTo>
                      <a:pt x="27" y="1009"/>
                    </a:lnTo>
                    <a:lnTo>
                      <a:pt x="28" y="1009"/>
                    </a:lnTo>
                    <a:lnTo>
                      <a:pt x="30" y="1009"/>
                    </a:lnTo>
                    <a:lnTo>
                      <a:pt x="31" y="1011"/>
                    </a:lnTo>
                    <a:lnTo>
                      <a:pt x="32" y="1013"/>
                    </a:lnTo>
                    <a:lnTo>
                      <a:pt x="32" y="1009"/>
                    </a:lnTo>
                    <a:lnTo>
                      <a:pt x="32" y="1007"/>
                    </a:lnTo>
                    <a:lnTo>
                      <a:pt x="32" y="1005"/>
                    </a:lnTo>
                    <a:lnTo>
                      <a:pt x="31" y="1002"/>
                    </a:lnTo>
                    <a:lnTo>
                      <a:pt x="31" y="1000"/>
                    </a:lnTo>
                    <a:lnTo>
                      <a:pt x="31" y="998"/>
                    </a:lnTo>
                    <a:lnTo>
                      <a:pt x="31" y="995"/>
                    </a:lnTo>
                    <a:lnTo>
                      <a:pt x="33" y="1004"/>
                    </a:lnTo>
                    <a:lnTo>
                      <a:pt x="35" y="1012"/>
                    </a:lnTo>
                    <a:lnTo>
                      <a:pt x="35" y="1015"/>
                    </a:lnTo>
                    <a:lnTo>
                      <a:pt x="37" y="1018"/>
                    </a:lnTo>
                    <a:lnTo>
                      <a:pt x="38" y="1019"/>
                    </a:lnTo>
                    <a:lnTo>
                      <a:pt x="39" y="1020"/>
                    </a:lnTo>
                    <a:lnTo>
                      <a:pt x="39" y="1022"/>
                    </a:lnTo>
                    <a:lnTo>
                      <a:pt x="40" y="1022"/>
                    </a:lnTo>
                    <a:lnTo>
                      <a:pt x="40" y="1020"/>
                    </a:lnTo>
                    <a:lnTo>
                      <a:pt x="38" y="1016"/>
                    </a:lnTo>
                    <a:lnTo>
                      <a:pt x="38" y="1014"/>
                    </a:lnTo>
                    <a:lnTo>
                      <a:pt x="38" y="1011"/>
                    </a:lnTo>
                    <a:lnTo>
                      <a:pt x="38" y="1009"/>
                    </a:lnTo>
                    <a:lnTo>
                      <a:pt x="37" y="1001"/>
                    </a:lnTo>
                    <a:lnTo>
                      <a:pt x="34" y="998"/>
                    </a:lnTo>
                    <a:lnTo>
                      <a:pt x="34" y="995"/>
                    </a:lnTo>
                    <a:lnTo>
                      <a:pt x="37" y="999"/>
                    </a:lnTo>
                    <a:lnTo>
                      <a:pt x="39" y="1007"/>
                    </a:lnTo>
                    <a:lnTo>
                      <a:pt x="40" y="1006"/>
                    </a:lnTo>
                    <a:lnTo>
                      <a:pt x="42" y="1005"/>
                    </a:lnTo>
                    <a:lnTo>
                      <a:pt x="42" y="1008"/>
                    </a:lnTo>
                    <a:lnTo>
                      <a:pt x="44" y="1009"/>
                    </a:lnTo>
                    <a:lnTo>
                      <a:pt x="44" y="1012"/>
                    </a:lnTo>
                    <a:lnTo>
                      <a:pt x="45" y="1013"/>
                    </a:lnTo>
                    <a:lnTo>
                      <a:pt x="46" y="1014"/>
                    </a:lnTo>
                    <a:lnTo>
                      <a:pt x="46" y="1015"/>
                    </a:lnTo>
                    <a:lnTo>
                      <a:pt x="47" y="1016"/>
                    </a:lnTo>
                    <a:lnTo>
                      <a:pt x="48" y="1020"/>
                    </a:lnTo>
                    <a:lnTo>
                      <a:pt x="47" y="1022"/>
                    </a:lnTo>
                    <a:lnTo>
                      <a:pt x="48" y="1025"/>
                    </a:lnTo>
                    <a:lnTo>
                      <a:pt x="48" y="1027"/>
                    </a:lnTo>
                    <a:lnTo>
                      <a:pt x="48" y="1028"/>
                    </a:lnTo>
                    <a:lnTo>
                      <a:pt x="49" y="1027"/>
                    </a:lnTo>
                    <a:lnTo>
                      <a:pt x="49" y="1025"/>
                    </a:lnTo>
                    <a:lnTo>
                      <a:pt x="49" y="1022"/>
                    </a:lnTo>
                    <a:lnTo>
                      <a:pt x="49" y="1021"/>
                    </a:lnTo>
                    <a:lnTo>
                      <a:pt x="49" y="1019"/>
                    </a:lnTo>
                    <a:lnTo>
                      <a:pt x="48" y="1015"/>
                    </a:lnTo>
                    <a:lnTo>
                      <a:pt x="48" y="1014"/>
                    </a:lnTo>
                    <a:lnTo>
                      <a:pt x="47" y="1013"/>
                    </a:lnTo>
                    <a:lnTo>
                      <a:pt x="48" y="1012"/>
                    </a:lnTo>
                    <a:lnTo>
                      <a:pt x="49" y="1013"/>
                    </a:lnTo>
                    <a:lnTo>
                      <a:pt x="51" y="1014"/>
                    </a:lnTo>
                    <a:lnTo>
                      <a:pt x="51" y="1016"/>
                    </a:lnTo>
                    <a:lnTo>
                      <a:pt x="52" y="1018"/>
                    </a:lnTo>
                    <a:lnTo>
                      <a:pt x="52" y="1020"/>
                    </a:lnTo>
                    <a:lnTo>
                      <a:pt x="52" y="1022"/>
                    </a:lnTo>
                    <a:lnTo>
                      <a:pt x="53" y="1025"/>
                    </a:lnTo>
                    <a:lnTo>
                      <a:pt x="53" y="1027"/>
                    </a:lnTo>
                    <a:lnTo>
                      <a:pt x="54" y="1028"/>
                    </a:lnTo>
                    <a:lnTo>
                      <a:pt x="54" y="1030"/>
                    </a:lnTo>
                    <a:lnTo>
                      <a:pt x="54" y="1033"/>
                    </a:lnTo>
                    <a:lnTo>
                      <a:pt x="55" y="1033"/>
                    </a:lnTo>
                    <a:lnTo>
                      <a:pt x="56" y="1032"/>
                    </a:lnTo>
                    <a:lnTo>
                      <a:pt x="56" y="1030"/>
                    </a:lnTo>
                    <a:lnTo>
                      <a:pt x="56" y="1029"/>
                    </a:lnTo>
                    <a:lnTo>
                      <a:pt x="56" y="1028"/>
                    </a:lnTo>
                    <a:lnTo>
                      <a:pt x="58" y="1027"/>
                    </a:lnTo>
                    <a:lnTo>
                      <a:pt x="56" y="1026"/>
                    </a:lnTo>
                    <a:lnTo>
                      <a:pt x="56" y="1025"/>
                    </a:lnTo>
                    <a:lnTo>
                      <a:pt x="56" y="1023"/>
                    </a:lnTo>
                    <a:lnTo>
                      <a:pt x="59" y="1026"/>
                    </a:lnTo>
                    <a:lnTo>
                      <a:pt x="59" y="1028"/>
                    </a:lnTo>
                    <a:lnTo>
                      <a:pt x="59" y="1029"/>
                    </a:lnTo>
                    <a:lnTo>
                      <a:pt x="59" y="1032"/>
                    </a:lnTo>
                    <a:lnTo>
                      <a:pt x="59" y="1033"/>
                    </a:lnTo>
                    <a:lnTo>
                      <a:pt x="60" y="1034"/>
                    </a:lnTo>
                    <a:lnTo>
                      <a:pt x="59" y="1035"/>
                    </a:lnTo>
                    <a:lnTo>
                      <a:pt x="60" y="1035"/>
                    </a:lnTo>
                    <a:lnTo>
                      <a:pt x="61" y="1035"/>
                    </a:lnTo>
                    <a:lnTo>
                      <a:pt x="62" y="1037"/>
                    </a:lnTo>
                    <a:lnTo>
                      <a:pt x="62" y="1039"/>
                    </a:lnTo>
                    <a:lnTo>
                      <a:pt x="63" y="1039"/>
                    </a:lnTo>
                    <a:lnTo>
                      <a:pt x="63" y="1036"/>
                    </a:lnTo>
                    <a:lnTo>
                      <a:pt x="63" y="1035"/>
                    </a:lnTo>
                    <a:lnTo>
                      <a:pt x="64" y="1035"/>
                    </a:lnTo>
                    <a:lnTo>
                      <a:pt x="66" y="1034"/>
                    </a:lnTo>
                    <a:lnTo>
                      <a:pt x="67" y="1033"/>
                    </a:lnTo>
                    <a:lnTo>
                      <a:pt x="68" y="1033"/>
                    </a:lnTo>
                    <a:lnTo>
                      <a:pt x="68" y="1034"/>
                    </a:lnTo>
                    <a:lnTo>
                      <a:pt x="70" y="1033"/>
                    </a:lnTo>
                    <a:lnTo>
                      <a:pt x="70" y="1030"/>
                    </a:lnTo>
                    <a:lnTo>
                      <a:pt x="71" y="1029"/>
                    </a:lnTo>
                    <a:lnTo>
                      <a:pt x="73" y="1028"/>
                    </a:lnTo>
                    <a:lnTo>
                      <a:pt x="74" y="1027"/>
                    </a:lnTo>
                    <a:lnTo>
                      <a:pt x="74" y="1025"/>
                    </a:lnTo>
                    <a:lnTo>
                      <a:pt x="74" y="1022"/>
                    </a:lnTo>
                    <a:lnTo>
                      <a:pt x="73" y="1020"/>
                    </a:lnTo>
                    <a:lnTo>
                      <a:pt x="73" y="1018"/>
                    </a:lnTo>
                    <a:lnTo>
                      <a:pt x="73" y="1016"/>
                    </a:lnTo>
                    <a:lnTo>
                      <a:pt x="73" y="1014"/>
                    </a:lnTo>
                    <a:lnTo>
                      <a:pt x="71" y="1012"/>
                    </a:lnTo>
                    <a:lnTo>
                      <a:pt x="69" y="1011"/>
                    </a:lnTo>
                    <a:lnTo>
                      <a:pt x="67" y="1009"/>
                    </a:lnTo>
                    <a:lnTo>
                      <a:pt x="64" y="1007"/>
                    </a:lnTo>
                    <a:lnTo>
                      <a:pt x="62" y="1008"/>
                    </a:lnTo>
                    <a:lnTo>
                      <a:pt x="58" y="1007"/>
                    </a:lnTo>
                    <a:lnTo>
                      <a:pt x="58" y="1006"/>
                    </a:lnTo>
                    <a:lnTo>
                      <a:pt x="58" y="1005"/>
                    </a:lnTo>
                    <a:lnTo>
                      <a:pt x="56" y="1004"/>
                    </a:lnTo>
                    <a:lnTo>
                      <a:pt x="55" y="1001"/>
                    </a:lnTo>
                    <a:lnTo>
                      <a:pt x="52" y="999"/>
                    </a:lnTo>
                    <a:lnTo>
                      <a:pt x="49" y="999"/>
                    </a:lnTo>
                    <a:lnTo>
                      <a:pt x="48" y="997"/>
                    </a:lnTo>
                    <a:lnTo>
                      <a:pt x="48" y="995"/>
                    </a:lnTo>
                    <a:lnTo>
                      <a:pt x="48" y="993"/>
                    </a:lnTo>
                    <a:lnTo>
                      <a:pt x="47" y="993"/>
                    </a:lnTo>
                    <a:lnTo>
                      <a:pt x="47" y="991"/>
                    </a:lnTo>
                    <a:lnTo>
                      <a:pt x="47" y="988"/>
                    </a:lnTo>
                    <a:lnTo>
                      <a:pt x="44" y="987"/>
                    </a:lnTo>
                    <a:lnTo>
                      <a:pt x="44" y="985"/>
                    </a:lnTo>
                    <a:lnTo>
                      <a:pt x="44" y="984"/>
                    </a:lnTo>
                    <a:lnTo>
                      <a:pt x="42" y="983"/>
                    </a:lnTo>
                    <a:lnTo>
                      <a:pt x="41" y="983"/>
                    </a:lnTo>
                    <a:lnTo>
                      <a:pt x="41" y="981"/>
                    </a:lnTo>
                    <a:lnTo>
                      <a:pt x="40" y="980"/>
                    </a:lnTo>
                    <a:lnTo>
                      <a:pt x="39" y="980"/>
                    </a:lnTo>
                    <a:lnTo>
                      <a:pt x="39" y="979"/>
                    </a:lnTo>
                    <a:lnTo>
                      <a:pt x="38" y="978"/>
                    </a:lnTo>
                    <a:lnTo>
                      <a:pt x="38" y="977"/>
                    </a:lnTo>
                    <a:lnTo>
                      <a:pt x="35" y="974"/>
                    </a:lnTo>
                    <a:lnTo>
                      <a:pt x="34" y="973"/>
                    </a:lnTo>
                    <a:lnTo>
                      <a:pt x="34" y="971"/>
                    </a:lnTo>
                    <a:lnTo>
                      <a:pt x="34" y="970"/>
                    </a:lnTo>
                    <a:lnTo>
                      <a:pt x="35" y="967"/>
                    </a:lnTo>
                    <a:lnTo>
                      <a:pt x="35" y="965"/>
                    </a:lnTo>
                    <a:lnTo>
                      <a:pt x="37" y="963"/>
                    </a:lnTo>
                    <a:lnTo>
                      <a:pt x="38" y="960"/>
                    </a:lnTo>
                    <a:lnTo>
                      <a:pt x="38" y="958"/>
                    </a:lnTo>
                    <a:lnTo>
                      <a:pt x="39" y="958"/>
                    </a:lnTo>
                    <a:lnTo>
                      <a:pt x="39" y="960"/>
                    </a:lnTo>
                    <a:lnTo>
                      <a:pt x="40" y="963"/>
                    </a:lnTo>
                    <a:lnTo>
                      <a:pt x="40" y="965"/>
                    </a:lnTo>
                    <a:lnTo>
                      <a:pt x="41" y="966"/>
                    </a:lnTo>
                    <a:lnTo>
                      <a:pt x="42" y="965"/>
                    </a:lnTo>
                    <a:lnTo>
                      <a:pt x="44" y="966"/>
                    </a:lnTo>
                    <a:lnTo>
                      <a:pt x="45" y="966"/>
                    </a:lnTo>
                    <a:lnTo>
                      <a:pt x="46" y="969"/>
                    </a:lnTo>
                    <a:lnTo>
                      <a:pt x="47" y="971"/>
                    </a:lnTo>
                    <a:lnTo>
                      <a:pt x="49" y="973"/>
                    </a:lnTo>
                    <a:lnTo>
                      <a:pt x="51" y="973"/>
                    </a:lnTo>
                    <a:lnTo>
                      <a:pt x="52" y="976"/>
                    </a:lnTo>
                    <a:lnTo>
                      <a:pt x="54" y="977"/>
                    </a:lnTo>
                    <a:lnTo>
                      <a:pt x="56" y="977"/>
                    </a:lnTo>
                    <a:lnTo>
                      <a:pt x="56" y="979"/>
                    </a:lnTo>
                    <a:lnTo>
                      <a:pt x="55" y="980"/>
                    </a:lnTo>
                    <a:lnTo>
                      <a:pt x="56" y="981"/>
                    </a:lnTo>
                    <a:lnTo>
                      <a:pt x="58" y="983"/>
                    </a:lnTo>
                    <a:lnTo>
                      <a:pt x="59" y="983"/>
                    </a:lnTo>
                    <a:lnTo>
                      <a:pt x="59" y="984"/>
                    </a:lnTo>
                    <a:lnTo>
                      <a:pt x="59" y="985"/>
                    </a:lnTo>
                    <a:lnTo>
                      <a:pt x="58" y="986"/>
                    </a:lnTo>
                    <a:lnTo>
                      <a:pt x="59" y="987"/>
                    </a:lnTo>
                    <a:lnTo>
                      <a:pt x="59" y="990"/>
                    </a:lnTo>
                    <a:lnTo>
                      <a:pt x="59" y="992"/>
                    </a:lnTo>
                    <a:lnTo>
                      <a:pt x="58" y="993"/>
                    </a:lnTo>
                    <a:lnTo>
                      <a:pt x="59" y="994"/>
                    </a:lnTo>
                    <a:lnTo>
                      <a:pt x="59" y="997"/>
                    </a:lnTo>
                    <a:lnTo>
                      <a:pt x="59" y="1000"/>
                    </a:lnTo>
                    <a:lnTo>
                      <a:pt x="59" y="1001"/>
                    </a:lnTo>
                    <a:lnTo>
                      <a:pt x="60" y="1004"/>
                    </a:lnTo>
                    <a:lnTo>
                      <a:pt x="61" y="1005"/>
                    </a:lnTo>
                    <a:lnTo>
                      <a:pt x="62" y="1005"/>
                    </a:lnTo>
                    <a:lnTo>
                      <a:pt x="63" y="1006"/>
                    </a:lnTo>
                    <a:lnTo>
                      <a:pt x="64" y="1005"/>
                    </a:lnTo>
                    <a:lnTo>
                      <a:pt x="67" y="999"/>
                    </a:lnTo>
                    <a:lnTo>
                      <a:pt x="68" y="995"/>
                    </a:lnTo>
                    <a:lnTo>
                      <a:pt x="68" y="992"/>
                    </a:lnTo>
                    <a:lnTo>
                      <a:pt x="67" y="990"/>
                    </a:lnTo>
                    <a:lnTo>
                      <a:pt x="67" y="988"/>
                    </a:lnTo>
                    <a:lnTo>
                      <a:pt x="66" y="987"/>
                    </a:lnTo>
                    <a:lnTo>
                      <a:pt x="66" y="986"/>
                    </a:lnTo>
                    <a:lnTo>
                      <a:pt x="67" y="986"/>
                    </a:lnTo>
                    <a:lnTo>
                      <a:pt x="68" y="986"/>
                    </a:lnTo>
                    <a:lnTo>
                      <a:pt x="69" y="987"/>
                    </a:lnTo>
                    <a:lnTo>
                      <a:pt x="69" y="990"/>
                    </a:lnTo>
                    <a:lnTo>
                      <a:pt x="70" y="992"/>
                    </a:lnTo>
                    <a:lnTo>
                      <a:pt x="71" y="995"/>
                    </a:lnTo>
                    <a:lnTo>
                      <a:pt x="71" y="998"/>
                    </a:lnTo>
                    <a:lnTo>
                      <a:pt x="73" y="999"/>
                    </a:lnTo>
                    <a:lnTo>
                      <a:pt x="74" y="999"/>
                    </a:lnTo>
                    <a:lnTo>
                      <a:pt x="74" y="1002"/>
                    </a:lnTo>
                    <a:lnTo>
                      <a:pt x="75" y="1005"/>
                    </a:lnTo>
                    <a:lnTo>
                      <a:pt x="76" y="1007"/>
                    </a:lnTo>
                    <a:lnTo>
                      <a:pt x="76" y="1008"/>
                    </a:lnTo>
                    <a:lnTo>
                      <a:pt x="77" y="1011"/>
                    </a:lnTo>
                    <a:lnTo>
                      <a:pt x="77" y="1012"/>
                    </a:lnTo>
                    <a:lnTo>
                      <a:pt x="82" y="1016"/>
                    </a:lnTo>
                    <a:lnTo>
                      <a:pt x="85" y="1019"/>
                    </a:lnTo>
                    <a:lnTo>
                      <a:pt x="87" y="1019"/>
                    </a:lnTo>
                    <a:lnTo>
                      <a:pt x="88" y="1019"/>
                    </a:lnTo>
                    <a:lnTo>
                      <a:pt x="89" y="1018"/>
                    </a:lnTo>
                    <a:lnTo>
                      <a:pt x="90" y="1016"/>
                    </a:lnTo>
                    <a:lnTo>
                      <a:pt x="90" y="1014"/>
                    </a:lnTo>
                    <a:lnTo>
                      <a:pt x="92" y="1014"/>
                    </a:lnTo>
                    <a:lnTo>
                      <a:pt x="94" y="1013"/>
                    </a:lnTo>
                    <a:lnTo>
                      <a:pt x="94" y="1011"/>
                    </a:lnTo>
                    <a:lnTo>
                      <a:pt x="95" y="1008"/>
                    </a:lnTo>
                    <a:lnTo>
                      <a:pt x="94" y="1006"/>
                    </a:lnTo>
                    <a:lnTo>
                      <a:pt x="91" y="1004"/>
                    </a:lnTo>
                    <a:lnTo>
                      <a:pt x="91" y="1001"/>
                    </a:lnTo>
                    <a:lnTo>
                      <a:pt x="90" y="1000"/>
                    </a:lnTo>
                    <a:lnTo>
                      <a:pt x="90" y="998"/>
                    </a:lnTo>
                    <a:lnTo>
                      <a:pt x="90" y="997"/>
                    </a:lnTo>
                    <a:lnTo>
                      <a:pt x="91" y="993"/>
                    </a:lnTo>
                    <a:lnTo>
                      <a:pt x="91" y="992"/>
                    </a:lnTo>
                    <a:lnTo>
                      <a:pt x="91" y="991"/>
                    </a:lnTo>
                    <a:lnTo>
                      <a:pt x="90" y="988"/>
                    </a:lnTo>
                    <a:lnTo>
                      <a:pt x="88" y="986"/>
                    </a:lnTo>
                    <a:lnTo>
                      <a:pt x="88" y="985"/>
                    </a:lnTo>
                    <a:lnTo>
                      <a:pt x="88" y="984"/>
                    </a:lnTo>
                    <a:lnTo>
                      <a:pt x="89" y="985"/>
                    </a:lnTo>
                    <a:lnTo>
                      <a:pt x="90" y="986"/>
                    </a:lnTo>
                    <a:lnTo>
                      <a:pt x="91" y="985"/>
                    </a:lnTo>
                    <a:lnTo>
                      <a:pt x="92" y="985"/>
                    </a:lnTo>
                    <a:lnTo>
                      <a:pt x="92" y="984"/>
                    </a:lnTo>
                    <a:lnTo>
                      <a:pt x="91" y="983"/>
                    </a:lnTo>
                    <a:lnTo>
                      <a:pt x="90" y="983"/>
                    </a:lnTo>
                    <a:lnTo>
                      <a:pt x="90" y="980"/>
                    </a:lnTo>
                    <a:lnTo>
                      <a:pt x="90" y="979"/>
                    </a:lnTo>
                    <a:lnTo>
                      <a:pt x="91" y="977"/>
                    </a:lnTo>
                    <a:lnTo>
                      <a:pt x="91" y="976"/>
                    </a:lnTo>
                    <a:lnTo>
                      <a:pt x="90" y="974"/>
                    </a:lnTo>
                    <a:lnTo>
                      <a:pt x="89" y="973"/>
                    </a:lnTo>
                    <a:lnTo>
                      <a:pt x="85" y="972"/>
                    </a:lnTo>
                    <a:lnTo>
                      <a:pt x="83" y="971"/>
                    </a:lnTo>
                    <a:lnTo>
                      <a:pt x="83" y="970"/>
                    </a:lnTo>
                    <a:lnTo>
                      <a:pt x="82" y="970"/>
                    </a:lnTo>
                    <a:lnTo>
                      <a:pt x="82" y="969"/>
                    </a:lnTo>
                    <a:lnTo>
                      <a:pt x="82" y="967"/>
                    </a:lnTo>
                    <a:lnTo>
                      <a:pt x="81" y="966"/>
                    </a:lnTo>
                    <a:lnTo>
                      <a:pt x="80" y="965"/>
                    </a:lnTo>
                    <a:lnTo>
                      <a:pt x="78" y="965"/>
                    </a:lnTo>
                    <a:lnTo>
                      <a:pt x="78" y="964"/>
                    </a:lnTo>
                    <a:lnTo>
                      <a:pt x="77" y="964"/>
                    </a:lnTo>
                    <a:lnTo>
                      <a:pt x="75" y="963"/>
                    </a:lnTo>
                    <a:lnTo>
                      <a:pt x="74" y="962"/>
                    </a:lnTo>
                    <a:lnTo>
                      <a:pt x="71" y="957"/>
                    </a:lnTo>
                    <a:lnTo>
                      <a:pt x="67" y="952"/>
                    </a:lnTo>
                    <a:lnTo>
                      <a:pt x="64" y="950"/>
                    </a:lnTo>
                    <a:lnTo>
                      <a:pt x="59" y="939"/>
                    </a:lnTo>
                    <a:lnTo>
                      <a:pt x="59" y="938"/>
                    </a:lnTo>
                    <a:lnTo>
                      <a:pt x="58" y="937"/>
                    </a:lnTo>
                    <a:lnTo>
                      <a:pt x="55" y="934"/>
                    </a:lnTo>
                    <a:lnTo>
                      <a:pt x="54" y="931"/>
                    </a:lnTo>
                    <a:lnTo>
                      <a:pt x="53" y="931"/>
                    </a:lnTo>
                    <a:lnTo>
                      <a:pt x="53" y="930"/>
                    </a:lnTo>
                    <a:lnTo>
                      <a:pt x="49" y="929"/>
                    </a:lnTo>
                    <a:lnTo>
                      <a:pt x="47" y="929"/>
                    </a:lnTo>
                    <a:lnTo>
                      <a:pt x="46" y="928"/>
                    </a:lnTo>
                    <a:lnTo>
                      <a:pt x="45" y="925"/>
                    </a:lnTo>
                    <a:lnTo>
                      <a:pt x="44" y="923"/>
                    </a:lnTo>
                    <a:lnTo>
                      <a:pt x="42" y="922"/>
                    </a:lnTo>
                    <a:lnTo>
                      <a:pt x="41" y="921"/>
                    </a:lnTo>
                    <a:lnTo>
                      <a:pt x="41" y="920"/>
                    </a:lnTo>
                    <a:lnTo>
                      <a:pt x="41" y="918"/>
                    </a:lnTo>
                    <a:lnTo>
                      <a:pt x="41" y="917"/>
                    </a:lnTo>
                    <a:lnTo>
                      <a:pt x="42" y="917"/>
                    </a:lnTo>
                    <a:lnTo>
                      <a:pt x="42" y="915"/>
                    </a:lnTo>
                    <a:lnTo>
                      <a:pt x="41" y="914"/>
                    </a:lnTo>
                    <a:lnTo>
                      <a:pt x="40" y="913"/>
                    </a:lnTo>
                    <a:lnTo>
                      <a:pt x="38" y="913"/>
                    </a:lnTo>
                    <a:lnTo>
                      <a:pt x="38" y="911"/>
                    </a:lnTo>
                    <a:lnTo>
                      <a:pt x="37" y="910"/>
                    </a:lnTo>
                    <a:lnTo>
                      <a:pt x="37" y="909"/>
                    </a:lnTo>
                    <a:lnTo>
                      <a:pt x="37" y="907"/>
                    </a:lnTo>
                    <a:lnTo>
                      <a:pt x="38" y="906"/>
                    </a:lnTo>
                    <a:lnTo>
                      <a:pt x="37" y="904"/>
                    </a:lnTo>
                    <a:lnTo>
                      <a:pt x="37" y="902"/>
                    </a:lnTo>
                    <a:lnTo>
                      <a:pt x="35" y="901"/>
                    </a:lnTo>
                    <a:lnTo>
                      <a:pt x="31" y="896"/>
                    </a:lnTo>
                    <a:lnTo>
                      <a:pt x="23" y="889"/>
                    </a:lnTo>
                    <a:lnTo>
                      <a:pt x="20" y="887"/>
                    </a:lnTo>
                    <a:lnTo>
                      <a:pt x="19" y="885"/>
                    </a:lnTo>
                    <a:lnTo>
                      <a:pt x="18" y="881"/>
                    </a:lnTo>
                    <a:lnTo>
                      <a:pt x="16" y="869"/>
                    </a:lnTo>
                    <a:lnTo>
                      <a:pt x="16" y="868"/>
                    </a:lnTo>
                    <a:lnTo>
                      <a:pt x="16" y="867"/>
                    </a:lnTo>
                    <a:lnTo>
                      <a:pt x="17" y="865"/>
                    </a:lnTo>
                    <a:lnTo>
                      <a:pt x="18" y="864"/>
                    </a:lnTo>
                    <a:lnTo>
                      <a:pt x="17" y="861"/>
                    </a:lnTo>
                    <a:lnTo>
                      <a:pt x="16" y="859"/>
                    </a:lnTo>
                    <a:lnTo>
                      <a:pt x="16" y="857"/>
                    </a:lnTo>
                    <a:lnTo>
                      <a:pt x="14" y="854"/>
                    </a:lnTo>
                    <a:lnTo>
                      <a:pt x="16" y="853"/>
                    </a:lnTo>
                    <a:lnTo>
                      <a:pt x="16" y="852"/>
                    </a:lnTo>
                    <a:lnTo>
                      <a:pt x="17" y="851"/>
                    </a:lnTo>
                    <a:lnTo>
                      <a:pt x="17" y="850"/>
                    </a:lnTo>
                    <a:lnTo>
                      <a:pt x="17" y="848"/>
                    </a:lnTo>
                    <a:lnTo>
                      <a:pt x="17" y="846"/>
                    </a:lnTo>
                    <a:lnTo>
                      <a:pt x="17" y="845"/>
                    </a:lnTo>
                    <a:lnTo>
                      <a:pt x="17" y="844"/>
                    </a:lnTo>
                    <a:lnTo>
                      <a:pt x="18" y="841"/>
                    </a:lnTo>
                    <a:lnTo>
                      <a:pt x="18" y="839"/>
                    </a:lnTo>
                    <a:lnTo>
                      <a:pt x="19" y="833"/>
                    </a:lnTo>
                    <a:lnTo>
                      <a:pt x="19" y="832"/>
                    </a:lnTo>
                    <a:lnTo>
                      <a:pt x="20" y="831"/>
                    </a:lnTo>
                    <a:lnTo>
                      <a:pt x="23" y="823"/>
                    </a:lnTo>
                    <a:lnTo>
                      <a:pt x="23" y="822"/>
                    </a:lnTo>
                    <a:lnTo>
                      <a:pt x="24" y="822"/>
                    </a:lnTo>
                    <a:lnTo>
                      <a:pt x="24" y="820"/>
                    </a:lnTo>
                    <a:lnTo>
                      <a:pt x="26" y="819"/>
                    </a:lnTo>
                    <a:lnTo>
                      <a:pt x="27" y="818"/>
                    </a:lnTo>
                    <a:lnTo>
                      <a:pt x="27" y="817"/>
                    </a:lnTo>
                    <a:lnTo>
                      <a:pt x="28" y="816"/>
                    </a:lnTo>
                    <a:lnTo>
                      <a:pt x="30" y="813"/>
                    </a:lnTo>
                    <a:lnTo>
                      <a:pt x="31" y="812"/>
                    </a:lnTo>
                    <a:lnTo>
                      <a:pt x="31" y="811"/>
                    </a:lnTo>
                    <a:lnTo>
                      <a:pt x="31" y="810"/>
                    </a:lnTo>
                    <a:lnTo>
                      <a:pt x="31" y="809"/>
                    </a:lnTo>
                    <a:lnTo>
                      <a:pt x="32" y="809"/>
                    </a:lnTo>
                    <a:lnTo>
                      <a:pt x="31" y="804"/>
                    </a:lnTo>
                    <a:lnTo>
                      <a:pt x="31" y="801"/>
                    </a:lnTo>
                    <a:lnTo>
                      <a:pt x="31" y="799"/>
                    </a:lnTo>
                    <a:lnTo>
                      <a:pt x="28" y="792"/>
                    </a:lnTo>
                    <a:lnTo>
                      <a:pt x="27" y="789"/>
                    </a:lnTo>
                    <a:lnTo>
                      <a:pt x="26" y="788"/>
                    </a:lnTo>
                    <a:lnTo>
                      <a:pt x="26" y="785"/>
                    </a:lnTo>
                    <a:lnTo>
                      <a:pt x="27" y="784"/>
                    </a:lnTo>
                    <a:lnTo>
                      <a:pt x="27" y="783"/>
                    </a:lnTo>
                    <a:lnTo>
                      <a:pt x="28" y="783"/>
                    </a:lnTo>
                    <a:lnTo>
                      <a:pt x="28" y="782"/>
                    </a:lnTo>
                    <a:lnTo>
                      <a:pt x="30" y="781"/>
                    </a:lnTo>
                    <a:lnTo>
                      <a:pt x="30" y="778"/>
                    </a:lnTo>
                    <a:lnTo>
                      <a:pt x="27" y="770"/>
                    </a:lnTo>
                    <a:lnTo>
                      <a:pt x="27" y="768"/>
                    </a:lnTo>
                    <a:lnTo>
                      <a:pt x="26" y="767"/>
                    </a:lnTo>
                    <a:lnTo>
                      <a:pt x="25" y="764"/>
                    </a:lnTo>
                    <a:lnTo>
                      <a:pt x="23" y="761"/>
                    </a:lnTo>
                    <a:lnTo>
                      <a:pt x="19" y="757"/>
                    </a:lnTo>
                    <a:lnTo>
                      <a:pt x="18" y="757"/>
                    </a:lnTo>
                    <a:lnTo>
                      <a:pt x="17" y="757"/>
                    </a:lnTo>
                    <a:lnTo>
                      <a:pt x="16" y="757"/>
                    </a:lnTo>
                    <a:lnTo>
                      <a:pt x="16" y="754"/>
                    </a:lnTo>
                    <a:lnTo>
                      <a:pt x="16" y="753"/>
                    </a:lnTo>
                    <a:lnTo>
                      <a:pt x="14" y="752"/>
                    </a:lnTo>
                    <a:lnTo>
                      <a:pt x="14" y="748"/>
                    </a:lnTo>
                    <a:lnTo>
                      <a:pt x="13" y="748"/>
                    </a:lnTo>
                    <a:lnTo>
                      <a:pt x="13" y="747"/>
                    </a:lnTo>
                    <a:lnTo>
                      <a:pt x="13" y="746"/>
                    </a:lnTo>
                    <a:lnTo>
                      <a:pt x="13" y="745"/>
                    </a:lnTo>
                    <a:lnTo>
                      <a:pt x="14" y="743"/>
                    </a:lnTo>
                    <a:lnTo>
                      <a:pt x="16" y="743"/>
                    </a:lnTo>
                    <a:lnTo>
                      <a:pt x="17" y="740"/>
                    </a:lnTo>
                    <a:lnTo>
                      <a:pt x="18" y="739"/>
                    </a:lnTo>
                    <a:lnTo>
                      <a:pt x="18" y="738"/>
                    </a:lnTo>
                    <a:lnTo>
                      <a:pt x="18" y="735"/>
                    </a:lnTo>
                    <a:lnTo>
                      <a:pt x="18" y="733"/>
                    </a:lnTo>
                    <a:lnTo>
                      <a:pt x="18" y="732"/>
                    </a:lnTo>
                    <a:lnTo>
                      <a:pt x="20" y="728"/>
                    </a:lnTo>
                    <a:lnTo>
                      <a:pt x="20" y="727"/>
                    </a:lnTo>
                    <a:lnTo>
                      <a:pt x="24" y="711"/>
                    </a:lnTo>
                    <a:lnTo>
                      <a:pt x="24" y="708"/>
                    </a:lnTo>
                    <a:lnTo>
                      <a:pt x="24" y="707"/>
                    </a:lnTo>
                    <a:lnTo>
                      <a:pt x="24" y="706"/>
                    </a:lnTo>
                    <a:lnTo>
                      <a:pt x="25" y="703"/>
                    </a:lnTo>
                    <a:lnTo>
                      <a:pt x="26" y="699"/>
                    </a:lnTo>
                    <a:lnTo>
                      <a:pt x="28" y="691"/>
                    </a:lnTo>
                    <a:lnTo>
                      <a:pt x="31" y="690"/>
                    </a:lnTo>
                    <a:lnTo>
                      <a:pt x="32" y="687"/>
                    </a:lnTo>
                    <a:lnTo>
                      <a:pt x="33" y="687"/>
                    </a:lnTo>
                    <a:lnTo>
                      <a:pt x="35" y="686"/>
                    </a:lnTo>
                    <a:lnTo>
                      <a:pt x="37" y="686"/>
                    </a:lnTo>
                    <a:lnTo>
                      <a:pt x="38" y="685"/>
                    </a:lnTo>
                    <a:lnTo>
                      <a:pt x="39" y="685"/>
                    </a:lnTo>
                    <a:lnTo>
                      <a:pt x="40" y="686"/>
                    </a:lnTo>
                    <a:lnTo>
                      <a:pt x="39" y="687"/>
                    </a:lnTo>
                    <a:lnTo>
                      <a:pt x="38" y="689"/>
                    </a:lnTo>
                    <a:lnTo>
                      <a:pt x="38" y="690"/>
                    </a:lnTo>
                    <a:lnTo>
                      <a:pt x="38" y="691"/>
                    </a:lnTo>
                    <a:lnTo>
                      <a:pt x="38" y="694"/>
                    </a:lnTo>
                    <a:lnTo>
                      <a:pt x="38" y="708"/>
                    </a:lnTo>
                    <a:lnTo>
                      <a:pt x="37" y="711"/>
                    </a:lnTo>
                    <a:lnTo>
                      <a:pt x="37" y="713"/>
                    </a:lnTo>
                    <a:lnTo>
                      <a:pt x="39" y="715"/>
                    </a:lnTo>
                    <a:lnTo>
                      <a:pt x="39" y="717"/>
                    </a:lnTo>
                    <a:lnTo>
                      <a:pt x="41" y="719"/>
                    </a:lnTo>
                    <a:lnTo>
                      <a:pt x="41" y="720"/>
                    </a:lnTo>
                    <a:lnTo>
                      <a:pt x="41" y="722"/>
                    </a:lnTo>
                    <a:lnTo>
                      <a:pt x="41" y="724"/>
                    </a:lnTo>
                    <a:lnTo>
                      <a:pt x="42" y="725"/>
                    </a:lnTo>
                    <a:lnTo>
                      <a:pt x="42" y="724"/>
                    </a:lnTo>
                    <a:lnTo>
                      <a:pt x="42" y="722"/>
                    </a:lnTo>
                    <a:lnTo>
                      <a:pt x="44" y="721"/>
                    </a:lnTo>
                    <a:lnTo>
                      <a:pt x="45" y="721"/>
                    </a:lnTo>
                    <a:lnTo>
                      <a:pt x="45" y="722"/>
                    </a:lnTo>
                    <a:lnTo>
                      <a:pt x="45" y="724"/>
                    </a:lnTo>
                    <a:lnTo>
                      <a:pt x="45" y="725"/>
                    </a:lnTo>
                    <a:lnTo>
                      <a:pt x="44" y="726"/>
                    </a:lnTo>
                    <a:lnTo>
                      <a:pt x="42" y="728"/>
                    </a:lnTo>
                    <a:lnTo>
                      <a:pt x="42" y="729"/>
                    </a:lnTo>
                    <a:lnTo>
                      <a:pt x="44" y="732"/>
                    </a:lnTo>
                    <a:lnTo>
                      <a:pt x="42" y="734"/>
                    </a:lnTo>
                    <a:lnTo>
                      <a:pt x="44" y="736"/>
                    </a:lnTo>
                    <a:lnTo>
                      <a:pt x="46" y="738"/>
                    </a:lnTo>
                    <a:lnTo>
                      <a:pt x="48" y="736"/>
                    </a:lnTo>
                    <a:lnTo>
                      <a:pt x="48" y="735"/>
                    </a:lnTo>
                    <a:lnTo>
                      <a:pt x="49" y="734"/>
                    </a:lnTo>
                    <a:lnTo>
                      <a:pt x="51" y="733"/>
                    </a:lnTo>
                    <a:lnTo>
                      <a:pt x="52" y="732"/>
                    </a:lnTo>
                    <a:lnTo>
                      <a:pt x="53" y="732"/>
                    </a:lnTo>
                    <a:lnTo>
                      <a:pt x="53" y="731"/>
                    </a:lnTo>
                    <a:lnTo>
                      <a:pt x="54" y="731"/>
                    </a:lnTo>
                    <a:lnTo>
                      <a:pt x="55" y="731"/>
                    </a:lnTo>
                    <a:lnTo>
                      <a:pt x="55" y="732"/>
                    </a:lnTo>
                    <a:lnTo>
                      <a:pt x="56" y="732"/>
                    </a:lnTo>
                    <a:lnTo>
                      <a:pt x="56" y="733"/>
                    </a:lnTo>
                    <a:lnTo>
                      <a:pt x="58" y="733"/>
                    </a:lnTo>
                    <a:lnTo>
                      <a:pt x="59" y="733"/>
                    </a:lnTo>
                    <a:lnTo>
                      <a:pt x="60" y="732"/>
                    </a:lnTo>
                    <a:lnTo>
                      <a:pt x="60" y="731"/>
                    </a:lnTo>
                    <a:lnTo>
                      <a:pt x="60" y="729"/>
                    </a:lnTo>
                    <a:lnTo>
                      <a:pt x="60" y="728"/>
                    </a:lnTo>
                    <a:lnTo>
                      <a:pt x="60" y="727"/>
                    </a:lnTo>
                    <a:lnTo>
                      <a:pt x="60" y="726"/>
                    </a:lnTo>
                    <a:lnTo>
                      <a:pt x="60" y="725"/>
                    </a:lnTo>
                    <a:lnTo>
                      <a:pt x="60" y="722"/>
                    </a:lnTo>
                    <a:lnTo>
                      <a:pt x="61" y="718"/>
                    </a:lnTo>
                    <a:lnTo>
                      <a:pt x="61" y="717"/>
                    </a:lnTo>
                    <a:lnTo>
                      <a:pt x="62" y="714"/>
                    </a:lnTo>
                    <a:lnTo>
                      <a:pt x="63" y="711"/>
                    </a:lnTo>
                    <a:lnTo>
                      <a:pt x="63" y="710"/>
                    </a:lnTo>
                    <a:lnTo>
                      <a:pt x="63" y="708"/>
                    </a:lnTo>
                    <a:lnTo>
                      <a:pt x="64" y="708"/>
                    </a:lnTo>
                    <a:lnTo>
                      <a:pt x="64" y="705"/>
                    </a:lnTo>
                    <a:lnTo>
                      <a:pt x="66" y="703"/>
                    </a:lnTo>
                    <a:lnTo>
                      <a:pt x="66" y="700"/>
                    </a:lnTo>
                    <a:lnTo>
                      <a:pt x="64" y="699"/>
                    </a:lnTo>
                    <a:lnTo>
                      <a:pt x="63" y="699"/>
                    </a:lnTo>
                    <a:lnTo>
                      <a:pt x="63" y="697"/>
                    </a:lnTo>
                    <a:lnTo>
                      <a:pt x="63" y="696"/>
                    </a:lnTo>
                    <a:lnTo>
                      <a:pt x="64" y="697"/>
                    </a:lnTo>
                    <a:lnTo>
                      <a:pt x="66" y="698"/>
                    </a:lnTo>
                    <a:lnTo>
                      <a:pt x="67" y="699"/>
                    </a:lnTo>
                    <a:lnTo>
                      <a:pt x="69" y="692"/>
                    </a:lnTo>
                    <a:lnTo>
                      <a:pt x="70" y="690"/>
                    </a:lnTo>
                    <a:lnTo>
                      <a:pt x="70" y="689"/>
                    </a:lnTo>
                    <a:lnTo>
                      <a:pt x="71" y="687"/>
                    </a:lnTo>
                    <a:lnTo>
                      <a:pt x="70" y="684"/>
                    </a:lnTo>
                    <a:lnTo>
                      <a:pt x="71" y="683"/>
                    </a:lnTo>
                    <a:lnTo>
                      <a:pt x="73" y="683"/>
                    </a:lnTo>
                    <a:lnTo>
                      <a:pt x="74" y="683"/>
                    </a:lnTo>
                    <a:lnTo>
                      <a:pt x="74" y="680"/>
                    </a:lnTo>
                    <a:lnTo>
                      <a:pt x="75" y="680"/>
                    </a:lnTo>
                    <a:lnTo>
                      <a:pt x="80" y="677"/>
                    </a:lnTo>
                    <a:lnTo>
                      <a:pt x="89" y="670"/>
                    </a:lnTo>
                    <a:lnTo>
                      <a:pt x="91" y="669"/>
                    </a:lnTo>
                    <a:lnTo>
                      <a:pt x="94" y="669"/>
                    </a:lnTo>
                    <a:lnTo>
                      <a:pt x="97" y="668"/>
                    </a:lnTo>
                    <a:lnTo>
                      <a:pt x="97" y="666"/>
                    </a:lnTo>
                    <a:lnTo>
                      <a:pt x="98" y="665"/>
                    </a:lnTo>
                    <a:lnTo>
                      <a:pt x="99" y="665"/>
                    </a:lnTo>
                    <a:lnTo>
                      <a:pt x="101" y="665"/>
                    </a:lnTo>
                    <a:lnTo>
                      <a:pt x="108" y="659"/>
                    </a:lnTo>
                    <a:lnTo>
                      <a:pt x="122" y="651"/>
                    </a:lnTo>
                    <a:lnTo>
                      <a:pt x="124" y="650"/>
                    </a:lnTo>
                    <a:lnTo>
                      <a:pt x="124" y="649"/>
                    </a:lnTo>
                    <a:lnTo>
                      <a:pt x="124" y="648"/>
                    </a:lnTo>
                    <a:lnTo>
                      <a:pt x="125" y="647"/>
                    </a:lnTo>
                    <a:lnTo>
                      <a:pt x="126" y="644"/>
                    </a:lnTo>
                    <a:lnTo>
                      <a:pt x="130" y="637"/>
                    </a:lnTo>
                    <a:lnTo>
                      <a:pt x="131" y="636"/>
                    </a:lnTo>
                    <a:lnTo>
                      <a:pt x="133" y="634"/>
                    </a:lnTo>
                    <a:lnTo>
                      <a:pt x="142" y="628"/>
                    </a:lnTo>
                    <a:lnTo>
                      <a:pt x="144" y="627"/>
                    </a:lnTo>
                    <a:lnTo>
                      <a:pt x="144" y="624"/>
                    </a:lnTo>
                    <a:lnTo>
                      <a:pt x="145" y="621"/>
                    </a:lnTo>
                    <a:lnTo>
                      <a:pt x="146" y="619"/>
                    </a:lnTo>
                    <a:lnTo>
                      <a:pt x="148" y="616"/>
                    </a:lnTo>
                    <a:lnTo>
                      <a:pt x="149" y="614"/>
                    </a:lnTo>
                    <a:lnTo>
                      <a:pt x="151" y="613"/>
                    </a:lnTo>
                    <a:lnTo>
                      <a:pt x="152" y="613"/>
                    </a:lnTo>
                    <a:lnTo>
                      <a:pt x="155" y="610"/>
                    </a:lnTo>
                    <a:lnTo>
                      <a:pt x="158" y="609"/>
                    </a:lnTo>
                    <a:lnTo>
                      <a:pt x="158" y="608"/>
                    </a:lnTo>
                    <a:lnTo>
                      <a:pt x="159" y="608"/>
                    </a:lnTo>
                    <a:lnTo>
                      <a:pt x="161" y="607"/>
                    </a:lnTo>
                    <a:lnTo>
                      <a:pt x="163" y="606"/>
                    </a:lnTo>
                    <a:lnTo>
                      <a:pt x="165" y="603"/>
                    </a:lnTo>
                    <a:lnTo>
                      <a:pt x="165" y="600"/>
                    </a:lnTo>
                    <a:lnTo>
                      <a:pt x="165" y="596"/>
                    </a:lnTo>
                    <a:lnTo>
                      <a:pt x="167" y="595"/>
                    </a:lnTo>
                    <a:lnTo>
                      <a:pt x="168" y="596"/>
                    </a:lnTo>
                    <a:lnTo>
                      <a:pt x="170" y="596"/>
                    </a:lnTo>
                    <a:lnTo>
                      <a:pt x="172" y="596"/>
                    </a:lnTo>
                    <a:lnTo>
                      <a:pt x="173" y="595"/>
                    </a:lnTo>
                    <a:lnTo>
                      <a:pt x="174" y="594"/>
                    </a:lnTo>
                    <a:lnTo>
                      <a:pt x="175" y="593"/>
                    </a:lnTo>
                    <a:lnTo>
                      <a:pt x="179" y="593"/>
                    </a:lnTo>
                    <a:lnTo>
                      <a:pt x="181" y="592"/>
                    </a:lnTo>
                    <a:lnTo>
                      <a:pt x="182" y="591"/>
                    </a:lnTo>
                    <a:lnTo>
                      <a:pt x="183" y="589"/>
                    </a:lnTo>
                    <a:lnTo>
                      <a:pt x="184" y="589"/>
                    </a:lnTo>
                    <a:lnTo>
                      <a:pt x="184" y="588"/>
                    </a:lnTo>
                    <a:lnTo>
                      <a:pt x="186" y="588"/>
                    </a:lnTo>
                    <a:lnTo>
                      <a:pt x="186" y="587"/>
                    </a:lnTo>
                    <a:lnTo>
                      <a:pt x="186" y="586"/>
                    </a:lnTo>
                    <a:lnTo>
                      <a:pt x="187" y="586"/>
                    </a:lnTo>
                    <a:lnTo>
                      <a:pt x="188" y="586"/>
                    </a:lnTo>
                    <a:lnTo>
                      <a:pt x="190" y="584"/>
                    </a:lnTo>
                    <a:lnTo>
                      <a:pt x="197" y="578"/>
                    </a:lnTo>
                    <a:lnTo>
                      <a:pt x="199" y="574"/>
                    </a:lnTo>
                    <a:lnTo>
                      <a:pt x="202" y="570"/>
                    </a:lnTo>
                    <a:lnTo>
                      <a:pt x="203" y="568"/>
                    </a:lnTo>
                    <a:lnTo>
                      <a:pt x="202" y="567"/>
                    </a:lnTo>
                    <a:lnTo>
                      <a:pt x="203" y="567"/>
                    </a:lnTo>
                    <a:lnTo>
                      <a:pt x="204" y="567"/>
                    </a:lnTo>
                    <a:lnTo>
                      <a:pt x="205" y="567"/>
                    </a:lnTo>
                    <a:lnTo>
                      <a:pt x="204" y="568"/>
                    </a:lnTo>
                    <a:lnTo>
                      <a:pt x="204" y="570"/>
                    </a:lnTo>
                    <a:lnTo>
                      <a:pt x="204" y="573"/>
                    </a:lnTo>
                    <a:lnTo>
                      <a:pt x="203" y="575"/>
                    </a:lnTo>
                    <a:lnTo>
                      <a:pt x="203" y="577"/>
                    </a:lnTo>
                    <a:lnTo>
                      <a:pt x="206" y="580"/>
                    </a:lnTo>
                    <a:lnTo>
                      <a:pt x="209" y="580"/>
                    </a:lnTo>
                    <a:lnTo>
                      <a:pt x="210" y="580"/>
                    </a:lnTo>
                    <a:lnTo>
                      <a:pt x="211" y="579"/>
                    </a:lnTo>
                    <a:lnTo>
                      <a:pt x="212" y="579"/>
                    </a:lnTo>
                    <a:lnTo>
                      <a:pt x="213" y="578"/>
                    </a:lnTo>
                    <a:lnTo>
                      <a:pt x="215" y="577"/>
                    </a:lnTo>
                    <a:lnTo>
                      <a:pt x="215" y="575"/>
                    </a:lnTo>
                    <a:lnTo>
                      <a:pt x="222" y="572"/>
                    </a:lnTo>
                    <a:lnTo>
                      <a:pt x="222" y="571"/>
                    </a:lnTo>
                    <a:lnTo>
                      <a:pt x="224" y="572"/>
                    </a:lnTo>
                    <a:lnTo>
                      <a:pt x="225" y="572"/>
                    </a:lnTo>
                    <a:lnTo>
                      <a:pt x="226" y="570"/>
                    </a:lnTo>
                    <a:lnTo>
                      <a:pt x="227" y="568"/>
                    </a:lnTo>
                    <a:lnTo>
                      <a:pt x="229" y="570"/>
                    </a:lnTo>
                    <a:lnTo>
                      <a:pt x="229" y="571"/>
                    </a:lnTo>
                    <a:lnTo>
                      <a:pt x="229" y="572"/>
                    </a:lnTo>
                    <a:lnTo>
                      <a:pt x="229" y="573"/>
                    </a:lnTo>
                    <a:lnTo>
                      <a:pt x="230" y="573"/>
                    </a:lnTo>
                    <a:lnTo>
                      <a:pt x="230" y="574"/>
                    </a:lnTo>
                    <a:lnTo>
                      <a:pt x="231" y="574"/>
                    </a:lnTo>
                    <a:lnTo>
                      <a:pt x="237" y="577"/>
                    </a:lnTo>
                    <a:lnTo>
                      <a:pt x="239" y="577"/>
                    </a:lnTo>
                    <a:lnTo>
                      <a:pt x="243" y="577"/>
                    </a:lnTo>
                    <a:lnTo>
                      <a:pt x="247" y="575"/>
                    </a:lnTo>
                    <a:lnTo>
                      <a:pt x="253" y="573"/>
                    </a:lnTo>
                    <a:lnTo>
                      <a:pt x="254" y="572"/>
                    </a:lnTo>
                    <a:lnTo>
                      <a:pt x="256" y="570"/>
                    </a:lnTo>
                    <a:lnTo>
                      <a:pt x="259" y="570"/>
                    </a:lnTo>
                    <a:lnTo>
                      <a:pt x="260" y="570"/>
                    </a:lnTo>
                    <a:lnTo>
                      <a:pt x="261" y="570"/>
                    </a:lnTo>
                    <a:lnTo>
                      <a:pt x="262" y="570"/>
                    </a:lnTo>
                    <a:lnTo>
                      <a:pt x="262" y="568"/>
                    </a:lnTo>
                    <a:lnTo>
                      <a:pt x="263" y="568"/>
                    </a:lnTo>
                    <a:lnTo>
                      <a:pt x="263" y="570"/>
                    </a:lnTo>
                    <a:lnTo>
                      <a:pt x="265" y="570"/>
                    </a:lnTo>
                    <a:lnTo>
                      <a:pt x="267" y="567"/>
                    </a:lnTo>
                    <a:lnTo>
                      <a:pt x="267" y="568"/>
                    </a:lnTo>
                    <a:lnTo>
                      <a:pt x="268" y="567"/>
                    </a:lnTo>
                    <a:lnTo>
                      <a:pt x="270" y="566"/>
                    </a:lnTo>
                    <a:lnTo>
                      <a:pt x="272" y="565"/>
                    </a:lnTo>
                    <a:lnTo>
                      <a:pt x="274" y="565"/>
                    </a:lnTo>
                    <a:lnTo>
                      <a:pt x="274" y="564"/>
                    </a:lnTo>
                    <a:lnTo>
                      <a:pt x="275" y="564"/>
                    </a:lnTo>
                    <a:lnTo>
                      <a:pt x="275" y="561"/>
                    </a:lnTo>
                    <a:lnTo>
                      <a:pt x="276" y="560"/>
                    </a:lnTo>
                    <a:lnTo>
                      <a:pt x="279" y="559"/>
                    </a:lnTo>
                    <a:lnTo>
                      <a:pt x="280" y="558"/>
                    </a:lnTo>
                    <a:lnTo>
                      <a:pt x="280" y="557"/>
                    </a:lnTo>
                    <a:lnTo>
                      <a:pt x="280" y="556"/>
                    </a:lnTo>
                    <a:lnTo>
                      <a:pt x="280" y="554"/>
                    </a:lnTo>
                    <a:lnTo>
                      <a:pt x="291" y="543"/>
                    </a:lnTo>
                    <a:lnTo>
                      <a:pt x="293" y="543"/>
                    </a:lnTo>
                    <a:lnTo>
                      <a:pt x="294" y="543"/>
                    </a:lnTo>
                    <a:lnTo>
                      <a:pt x="294" y="542"/>
                    </a:lnTo>
                    <a:lnTo>
                      <a:pt x="295" y="542"/>
                    </a:lnTo>
                    <a:lnTo>
                      <a:pt x="296" y="543"/>
                    </a:lnTo>
                    <a:lnTo>
                      <a:pt x="297" y="543"/>
                    </a:lnTo>
                    <a:lnTo>
                      <a:pt x="298" y="543"/>
                    </a:lnTo>
                    <a:lnTo>
                      <a:pt x="300" y="543"/>
                    </a:lnTo>
                    <a:lnTo>
                      <a:pt x="301" y="542"/>
                    </a:lnTo>
                    <a:lnTo>
                      <a:pt x="302" y="540"/>
                    </a:lnTo>
                    <a:lnTo>
                      <a:pt x="303" y="540"/>
                    </a:lnTo>
                    <a:lnTo>
                      <a:pt x="304" y="539"/>
                    </a:lnTo>
                    <a:lnTo>
                      <a:pt x="305" y="539"/>
                    </a:lnTo>
                    <a:lnTo>
                      <a:pt x="305" y="540"/>
                    </a:lnTo>
                    <a:lnTo>
                      <a:pt x="307" y="542"/>
                    </a:lnTo>
                    <a:lnTo>
                      <a:pt x="308" y="542"/>
                    </a:lnTo>
                    <a:lnTo>
                      <a:pt x="310" y="539"/>
                    </a:lnTo>
                    <a:lnTo>
                      <a:pt x="319" y="537"/>
                    </a:lnTo>
                    <a:lnTo>
                      <a:pt x="320" y="537"/>
                    </a:lnTo>
                    <a:lnTo>
                      <a:pt x="322" y="536"/>
                    </a:lnTo>
                    <a:lnTo>
                      <a:pt x="323" y="536"/>
                    </a:lnTo>
                    <a:lnTo>
                      <a:pt x="324" y="535"/>
                    </a:lnTo>
                    <a:lnTo>
                      <a:pt x="325" y="535"/>
                    </a:lnTo>
                    <a:lnTo>
                      <a:pt x="325" y="536"/>
                    </a:lnTo>
                    <a:lnTo>
                      <a:pt x="326" y="536"/>
                    </a:lnTo>
                    <a:lnTo>
                      <a:pt x="327" y="536"/>
                    </a:lnTo>
                    <a:lnTo>
                      <a:pt x="329" y="536"/>
                    </a:lnTo>
                    <a:lnTo>
                      <a:pt x="330" y="535"/>
                    </a:lnTo>
                    <a:lnTo>
                      <a:pt x="332" y="533"/>
                    </a:lnTo>
                    <a:lnTo>
                      <a:pt x="333" y="532"/>
                    </a:lnTo>
                    <a:lnTo>
                      <a:pt x="336" y="532"/>
                    </a:lnTo>
                    <a:lnTo>
                      <a:pt x="337" y="531"/>
                    </a:lnTo>
                    <a:lnTo>
                      <a:pt x="338" y="530"/>
                    </a:lnTo>
                    <a:lnTo>
                      <a:pt x="339" y="528"/>
                    </a:lnTo>
                    <a:lnTo>
                      <a:pt x="341" y="524"/>
                    </a:lnTo>
                    <a:lnTo>
                      <a:pt x="346" y="517"/>
                    </a:lnTo>
                    <a:lnTo>
                      <a:pt x="346" y="515"/>
                    </a:lnTo>
                    <a:lnTo>
                      <a:pt x="346" y="514"/>
                    </a:lnTo>
                    <a:lnTo>
                      <a:pt x="347" y="512"/>
                    </a:lnTo>
                    <a:lnTo>
                      <a:pt x="348" y="512"/>
                    </a:lnTo>
                    <a:lnTo>
                      <a:pt x="348" y="511"/>
                    </a:lnTo>
                    <a:lnTo>
                      <a:pt x="351" y="510"/>
                    </a:lnTo>
                    <a:lnTo>
                      <a:pt x="352" y="510"/>
                    </a:lnTo>
                    <a:lnTo>
                      <a:pt x="352" y="509"/>
                    </a:lnTo>
                    <a:lnTo>
                      <a:pt x="352" y="508"/>
                    </a:lnTo>
                    <a:lnTo>
                      <a:pt x="354" y="507"/>
                    </a:lnTo>
                    <a:lnTo>
                      <a:pt x="355" y="507"/>
                    </a:lnTo>
                    <a:lnTo>
                      <a:pt x="359" y="509"/>
                    </a:lnTo>
                    <a:lnTo>
                      <a:pt x="359" y="507"/>
                    </a:lnTo>
                    <a:lnTo>
                      <a:pt x="359" y="505"/>
                    </a:lnTo>
                    <a:lnTo>
                      <a:pt x="360" y="505"/>
                    </a:lnTo>
                    <a:lnTo>
                      <a:pt x="361" y="505"/>
                    </a:lnTo>
                    <a:lnTo>
                      <a:pt x="367" y="507"/>
                    </a:lnTo>
                    <a:lnTo>
                      <a:pt x="371" y="507"/>
                    </a:lnTo>
                    <a:lnTo>
                      <a:pt x="372" y="507"/>
                    </a:lnTo>
                    <a:lnTo>
                      <a:pt x="373" y="507"/>
                    </a:lnTo>
                    <a:lnTo>
                      <a:pt x="376" y="507"/>
                    </a:lnTo>
                    <a:lnTo>
                      <a:pt x="378" y="507"/>
                    </a:lnTo>
                    <a:lnTo>
                      <a:pt x="379" y="507"/>
                    </a:lnTo>
                    <a:lnTo>
                      <a:pt x="379" y="505"/>
                    </a:lnTo>
                    <a:lnTo>
                      <a:pt x="380" y="507"/>
                    </a:lnTo>
                    <a:lnTo>
                      <a:pt x="381" y="508"/>
                    </a:lnTo>
                    <a:lnTo>
                      <a:pt x="383" y="509"/>
                    </a:lnTo>
                    <a:lnTo>
                      <a:pt x="386" y="510"/>
                    </a:lnTo>
                    <a:lnTo>
                      <a:pt x="387" y="510"/>
                    </a:lnTo>
                    <a:lnTo>
                      <a:pt x="388" y="510"/>
                    </a:lnTo>
                    <a:lnTo>
                      <a:pt x="390" y="508"/>
                    </a:lnTo>
                    <a:lnTo>
                      <a:pt x="391" y="508"/>
                    </a:lnTo>
                    <a:lnTo>
                      <a:pt x="393" y="505"/>
                    </a:lnTo>
                    <a:lnTo>
                      <a:pt x="394" y="505"/>
                    </a:lnTo>
                    <a:lnTo>
                      <a:pt x="395" y="505"/>
                    </a:lnTo>
                    <a:lnTo>
                      <a:pt x="396" y="505"/>
                    </a:lnTo>
                    <a:lnTo>
                      <a:pt x="396" y="504"/>
                    </a:lnTo>
                    <a:lnTo>
                      <a:pt x="396" y="503"/>
                    </a:lnTo>
                    <a:lnTo>
                      <a:pt x="396" y="502"/>
                    </a:lnTo>
                    <a:lnTo>
                      <a:pt x="397" y="501"/>
                    </a:lnTo>
                    <a:lnTo>
                      <a:pt x="398" y="501"/>
                    </a:lnTo>
                    <a:lnTo>
                      <a:pt x="402" y="501"/>
                    </a:lnTo>
                    <a:lnTo>
                      <a:pt x="409" y="499"/>
                    </a:lnTo>
                    <a:lnTo>
                      <a:pt x="421" y="495"/>
                    </a:lnTo>
                    <a:lnTo>
                      <a:pt x="431" y="493"/>
                    </a:lnTo>
                    <a:lnTo>
                      <a:pt x="440" y="489"/>
                    </a:lnTo>
                    <a:lnTo>
                      <a:pt x="459" y="480"/>
                    </a:lnTo>
                    <a:lnTo>
                      <a:pt x="468" y="474"/>
                    </a:lnTo>
                    <a:lnTo>
                      <a:pt x="479" y="468"/>
                    </a:lnTo>
                    <a:lnTo>
                      <a:pt x="489" y="459"/>
                    </a:lnTo>
                    <a:lnTo>
                      <a:pt x="492" y="455"/>
                    </a:lnTo>
                    <a:lnTo>
                      <a:pt x="493" y="455"/>
                    </a:lnTo>
                    <a:lnTo>
                      <a:pt x="494" y="454"/>
                    </a:lnTo>
                    <a:lnTo>
                      <a:pt x="501" y="445"/>
                    </a:lnTo>
                    <a:lnTo>
                      <a:pt x="507" y="434"/>
                    </a:lnTo>
                    <a:lnTo>
                      <a:pt x="514" y="423"/>
                    </a:lnTo>
                    <a:lnTo>
                      <a:pt x="514" y="419"/>
                    </a:lnTo>
                    <a:lnTo>
                      <a:pt x="515" y="417"/>
                    </a:lnTo>
                    <a:lnTo>
                      <a:pt x="516" y="416"/>
                    </a:lnTo>
                    <a:lnTo>
                      <a:pt x="516" y="415"/>
                    </a:lnTo>
                    <a:lnTo>
                      <a:pt x="516" y="413"/>
                    </a:lnTo>
                    <a:lnTo>
                      <a:pt x="517" y="412"/>
                    </a:lnTo>
                    <a:lnTo>
                      <a:pt x="517" y="411"/>
                    </a:lnTo>
                    <a:lnTo>
                      <a:pt x="518" y="408"/>
                    </a:lnTo>
                    <a:lnTo>
                      <a:pt x="519" y="404"/>
                    </a:lnTo>
                    <a:lnTo>
                      <a:pt x="519" y="403"/>
                    </a:lnTo>
                    <a:lnTo>
                      <a:pt x="519" y="402"/>
                    </a:lnTo>
                    <a:lnTo>
                      <a:pt x="519" y="401"/>
                    </a:lnTo>
                    <a:lnTo>
                      <a:pt x="519" y="399"/>
                    </a:lnTo>
                    <a:lnTo>
                      <a:pt x="518" y="399"/>
                    </a:lnTo>
                    <a:lnTo>
                      <a:pt x="518" y="398"/>
                    </a:lnTo>
                    <a:lnTo>
                      <a:pt x="517" y="397"/>
                    </a:lnTo>
                    <a:lnTo>
                      <a:pt x="518" y="396"/>
                    </a:lnTo>
                    <a:lnTo>
                      <a:pt x="519" y="397"/>
                    </a:lnTo>
                    <a:lnTo>
                      <a:pt x="521" y="396"/>
                    </a:lnTo>
                    <a:lnTo>
                      <a:pt x="522" y="396"/>
                    </a:lnTo>
                    <a:lnTo>
                      <a:pt x="524" y="395"/>
                    </a:lnTo>
                    <a:lnTo>
                      <a:pt x="528" y="391"/>
                    </a:lnTo>
                    <a:lnTo>
                      <a:pt x="528" y="390"/>
                    </a:lnTo>
                    <a:lnTo>
                      <a:pt x="528" y="389"/>
                    </a:lnTo>
                    <a:lnTo>
                      <a:pt x="528" y="388"/>
                    </a:lnTo>
                    <a:lnTo>
                      <a:pt x="526" y="387"/>
                    </a:lnTo>
                    <a:lnTo>
                      <a:pt x="524" y="387"/>
                    </a:lnTo>
                    <a:lnTo>
                      <a:pt x="526" y="384"/>
                    </a:lnTo>
                    <a:lnTo>
                      <a:pt x="526" y="383"/>
                    </a:lnTo>
                    <a:lnTo>
                      <a:pt x="528" y="378"/>
                    </a:lnTo>
                    <a:lnTo>
                      <a:pt x="529" y="377"/>
                    </a:lnTo>
                    <a:lnTo>
                      <a:pt x="530" y="376"/>
                    </a:lnTo>
                    <a:lnTo>
                      <a:pt x="531" y="376"/>
                    </a:lnTo>
                    <a:lnTo>
                      <a:pt x="532" y="377"/>
                    </a:lnTo>
                    <a:lnTo>
                      <a:pt x="533" y="377"/>
                    </a:lnTo>
                    <a:lnTo>
                      <a:pt x="535" y="377"/>
                    </a:lnTo>
                    <a:lnTo>
                      <a:pt x="536" y="376"/>
                    </a:lnTo>
                    <a:lnTo>
                      <a:pt x="543" y="370"/>
                    </a:lnTo>
                    <a:lnTo>
                      <a:pt x="544" y="368"/>
                    </a:lnTo>
                    <a:lnTo>
                      <a:pt x="545" y="366"/>
                    </a:lnTo>
                    <a:lnTo>
                      <a:pt x="545" y="364"/>
                    </a:lnTo>
                    <a:lnTo>
                      <a:pt x="550" y="362"/>
                    </a:lnTo>
                    <a:lnTo>
                      <a:pt x="551" y="361"/>
                    </a:lnTo>
                    <a:lnTo>
                      <a:pt x="552" y="360"/>
                    </a:lnTo>
                    <a:lnTo>
                      <a:pt x="553" y="357"/>
                    </a:lnTo>
                    <a:lnTo>
                      <a:pt x="554" y="357"/>
                    </a:lnTo>
                    <a:lnTo>
                      <a:pt x="554" y="359"/>
                    </a:lnTo>
                    <a:lnTo>
                      <a:pt x="556" y="356"/>
                    </a:lnTo>
                    <a:lnTo>
                      <a:pt x="556" y="355"/>
                    </a:lnTo>
                    <a:lnTo>
                      <a:pt x="558" y="354"/>
                    </a:lnTo>
                    <a:lnTo>
                      <a:pt x="563" y="350"/>
                    </a:lnTo>
                    <a:lnTo>
                      <a:pt x="564" y="348"/>
                    </a:lnTo>
                    <a:lnTo>
                      <a:pt x="565" y="346"/>
                    </a:lnTo>
                    <a:lnTo>
                      <a:pt x="565" y="345"/>
                    </a:lnTo>
                    <a:lnTo>
                      <a:pt x="565" y="341"/>
                    </a:lnTo>
                    <a:lnTo>
                      <a:pt x="564" y="340"/>
                    </a:lnTo>
                    <a:lnTo>
                      <a:pt x="563" y="339"/>
                    </a:lnTo>
                    <a:lnTo>
                      <a:pt x="560" y="338"/>
                    </a:lnTo>
                    <a:lnTo>
                      <a:pt x="558" y="338"/>
                    </a:lnTo>
                    <a:lnTo>
                      <a:pt x="556" y="338"/>
                    </a:lnTo>
                    <a:lnTo>
                      <a:pt x="553" y="339"/>
                    </a:lnTo>
                    <a:lnTo>
                      <a:pt x="552" y="341"/>
                    </a:lnTo>
                    <a:lnTo>
                      <a:pt x="552" y="340"/>
                    </a:lnTo>
                    <a:lnTo>
                      <a:pt x="551" y="340"/>
                    </a:lnTo>
                    <a:lnTo>
                      <a:pt x="551" y="339"/>
                    </a:lnTo>
                    <a:lnTo>
                      <a:pt x="552" y="336"/>
                    </a:lnTo>
                    <a:lnTo>
                      <a:pt x="553" y="334"/>
                    </a:lnTo>
                    <a:lnTo>
                      <a:pt x="552" y="332"/>
                    </a:lnTo>
                    <a:lnTo>
                      <a:pt x="551" y="327"/>
                    </a:lnTo>
                    <a:lnTo>
                      <a:pt x="551" y="322"/>
                    </a:lnTo>
                    <a:lnTo>
                      <a:pt x="551" y="321"/>
                    </a:lnTo>
                    <a:lnTo>
                      <a:pt x="551" y="320"/>
                    </a:lnTo>
                    <a:lnTo>
                      <a:pt x="551" y="319"/>
                    </a:lnTo>
                    <a:lnTo>
                      <a:pt x="550" y="318"/>
                    </a:lnTo>
                    <a:lnTo>
                      <a:pt x="549" y="317"/>
                    </a:lnTo>
                    <a:lnTo>
                      <a:pt x="549" y="315"/>
                    </a:lnTo>
                    <a:lnTo>
                      <a:pt x="549" y="314"/>
                    </a:lnTo>
                    <a:lnTo>
                      <a:pt x="547" y="312"/>
                    </a:lnTo>
                    <a:lnTo>
                      <a:pt x="546" y="311"/>
                    </a:lnTo>
                    <a:lnTo>
                      <a:pt x="546" y="310"/>
                    </a:lnTo>
                    <a:lnTo>
                      <a:pt x="545" y="301"/>
                    </a:lnTo>
                    <a:lnTo>
                      <a:pt x="545" y="293"/>
                    </a:lnTo>
                    <a:lnTo>
                      <a:pt x="545" y="290"/>
                    </a:lnTo>
                    <a:lnTo>
                      <a:pt x="546" y="287"/>
                    </a:lnTo>
                    <a:lnTo>
                      <a:pt x="546" y="285"/>
                    </a:lnTo>
                    <a:lnTo>
                      <a:pt x="547" y="284"/>
                    </a:lnTo>
                    <a:lnTo>
                      <a:pt x="549" y="284"/>
                    </a:lnTo>
                    <a:lnTo>
                      <a:pt x="549" y="283"/>
                    </a:lnTo>
                    <a:lnTo>
                      <a:pt x="552" y="278"/>
                    </a:lnTo>
                    <a:lnTo>
                      <a:pt x="552" y="277"/>
                    </a:lnTo>
                    <a:lnTo>
                      <a:pt x="551" y="277"/>
                    </a:lnTo>
                    <a:lnTo>
                      <a:pt x="551" y="276"/>
                    </a:lnTo>
                    <a:lnTo>
                      <a:pt x="551" y="275"/>
                    </a:lnTo>
                    <a:lnTo>
                      <a:pt x="552" y="273"/>
                    </a:lnTo>
                    <a:lnTo>
                      <a:pt x="560" y="264"/>
                    </a:lnTo>
                    <a:lnTo>
                      <a:pt x="564" y="262"/>
                    </a:lnTo>
                    <a:lnTo>
                      <a:pt x="563" y="264"/>
                    </a:lnTo>
                    <a:lnTo>
                      <a:pt x="564" y="264"/>
                    </a:lnTo>
                    <a:lnTo>
                      <a:pt x="565" y="264"/>
                    </a:lnTo>
                    <a:lnTo>
                      <a:pt x="565" y="262"/>
                    </a:lnTo>
                    <a:lnTo>
                      <a:pt x="565" y="261"/>
                    </a:lnTo>
                    <a:lnTo>
                      <a:pt x="565" y="259"/>
                    </a:lnTo>
                    <a:lnTo>
                      <a:pt x="566" y="259"/>
                    </a:lnTo>
                    <a:lnTo>
                      <a:pt x="567" y="259"/>
                    </a:lnTo>
                    <a:lnTo>
                      <a:pt x="567" y="261"/>
                    </a:lnTo>
                    <a:lnTo>
                      <a:pt x="568" y="262"/>
                    </a:lnTo>
                    <a:lnTo>
                      <a:pt x="570" y="263"/>
                    </a:lnTo>
                    <a:lnTo>
                      <a:pt x="573" y="263"/>
                    </a:lnTo>
                    <a:lnTo>
                      <a:pt x="573" y="262"/>
                    </a:lnTo>
                    <a:lnTo>
                      <a:pt x="571" y="258"/>
                    </a:lnTo>
                    <a:lnTo>
                      <a:pt x="568" y="256"/>
                    </a:lnTo>
                    <a:lnTo>
                      <a:pt x="568" y="255"/>
                    </a:lnTo>
                    <a:lnTo>
                      <a:pt x="568" y="254"/>
                    </a:lnTo>
                    <a:lnTo>
                      <a:pt x="570" y="254"/>
                    </a:lnTo>
                    <a:lnTo>
                      <a:pt x="570" y="252"/>
                    </a:lnTo>
                    <a:lnTo>
                      <a:pt x="570" y="251"/>
                    </a:lnTo>
                    <a:lnTo>
                      <a:pt x="570" y="250"/>
                    </a:lnTo>
                    <a:lnTo>
                      <a:pt x="571" y="250"/>
                    </a:lnTo>
                    <a:lnTo>
                      <a:pt x="572" y="249"/>
                    </a:lnTo>
                    <a:lnTo>
                      <a:pt x="573" y="248"/>
                    </a:lnTo>
                    <a:lnTo>
                      <a:pt x="573" y="249"/>
                    </a:lnTo>
                    <a:lnTo>
                      <a:pt x="574" y="250"/>
                    </a:lnTo>
                    <a:lnTo>
                      <a:pt x="575" y="250"/>
                    </a:lnTo>
                    <a:lnTo>
                      <a:pt x="576" y="250"/>
                    </a:lnTo>
                    <a:lnTo>
                      <a:pt x="578" y="249"/>
                    </a:lnTo>
                    <a:lnTo>
                      <a:pt x="580" y="249"/>
                    </a:lnTo>
                    <a:lnTo>
                      <a:pt x="581" y="248"/>
                    </a:lnTo>
                    <a:lnTo>
                      <a:pt x="582" y="247"/>
                    </a:lnTo>
                    <a:lnTo>
                      <a:pt x="583" y="247"/>
                    </a:lnTo>
                    <a:lnTo>
                      <a:pt x="585" y="247"/>
                    </a:lnTo>
                    <a:lnTo>
                      <a:pt x="588" y="248"/>
                    </a:lnTo>
                    <a:lnTo>
                      <a:pt x="583" y="244"/>
                    </a:lnTo>
                    <a:lnTo>
                      <a:pt x="582" y="242"/>
                    </a:lnTo>
                    <a:lnTo>
                      <a:pt x="582" y="240"/>
                    </a:lnTo>
                    <a:lnTo>
                      <a:pt x="582" y="238"/>
                    </a:lnTo>
                    <a:lnTo>
                      <a:pt x="582" y="237"/>
                    </a:lnTo>
                    <a:lnTo>
                      <a:pt x="582" y="235"/>
                    </a:lnTo>
                    <a:lnTo>
                      <a:pt x="582" y="234"/>
                    </a:lnTo>
                    <a:lnTo>
                      <a:pt x="583" y="233"/>
                    </a:lnTo>
                    <a:lnTo>
                      <a:pt x="585" y="231"/>
                    </a:lnTo>
                    <a:lnTo>
                      <a:pt x="587" y="231"/>
                    </a:lnTo>
                    <a:lnTo>
                      <a:pt x="588" y="231"/>
                    </a:lnTo>
                    <a:lnTo>
                      <a:pt x="588" y="230"/>
                    </a:lnTo>
                    <a:lnTo>
                      <a:pt x="589" y="230"/>
                    </a:lnTo>
                    <a:lnTo>
                      <a:pt x="589" y="229"/>
                    </a:lnTo>
                    <a:lnTo>
                      <a:pt x="590" y="228"/>
                    </a:lnTo>
                    <a:lnTo>
                      <a:pt x="592" y="226"/>
                    </a:lnTo>
                    <a:lnTo>
                      <a:pt x="592" y="223"/>
                    </a:lnTo>
                    <a:lnTo>
                      <a:pt x="593" y="220"/>
                    </a:lnTo>
                    <a:lnTo>
                      <a:pt x="594" y="220"/>
                    </a:lnTo>
                    <a:lnTo>
                      <a:pt x="599" y="216"/>
                    </a:lnTo>
                    <a:lnTo>
                      <a:pt x="600" y="217"/>
                    </a:lnTo>
                    <a:lnTo>
                      <a:pt x="600" y="219"/>
                    </a:lnTo>
                    <a:lnTo>
                      <a:pt x="599" y="220"/>
                    </a:lnTo>
                    <a:lnTo>
                      <a:pt x="601" y="221"/>
                    </a:lnTo>
                    <a:lnTo>
                      <a:pt x="603" y="222"/>
                    </a:lnTo>
                    <a:lnTo>
                      <a:pt x="602" y="223"/>
                    </a:lnTo>
                    <a:lnTo>
                      <a:pt x="602" y="224"/>
                    </a:lnTo>
                    <a:lnTo>
                      <a:pt x="601" y="224"/>
                    </a:lnTo>
                    <a:lnTo>
                      <a:pt x="600" y="223"/>
                    </a:lnTo>
                    <a:lnTo>
                      <a:pt x="599" y="223"/>
                    </a:lnTo>
                    <a:lnTo>
                      <a:pt x="599" y="224"/>
                    </a:lnTo>
                    <a:lnTo>
                      <a:pt x="597" y="224"/>
                    </a:lnTo>
                    <a:lnTo>
                      <a:pt x="597" y="227"/>
                    </a:lnTo>
                    <a:lnTo>
                      <a:pt x="599" y="228"/>
                    </a:lnTo>
                    <a:lnTo>
                      <a:pt x="596" y="231"/>
                    </a:lnTo>
                    <a:lnTo>
                      <a:pt x="597" y="233"/>
                    </a:lnTo>
                    <a:lnTo>
                      <a:pt x="599" y="235"/>
                    </a:lnTo>
                    <a:lnTo>
                      <a:pt x="600" y="234"/>
                    </a:lnTo>
                    <a:lnTo>
                      <a:pt x="601" y="234"/>
                    </a:lnTo>
                    <a:lnTo>
                      <a:pt x="602" y="235"/>
                    </a:lnTo>
                    <a:lnTo>
                      <a:pt x="602" y="236"/>
                    </a:lnTo>
                    <a:lnTo>
                      <a:pt x="602" y="238"/>
                    </a:lnTo>
                    <a:lnTo>
                      <a:pt x="603" y="240"/>
                    </a:lnTo>
                    <a:lnTo>
                      <a:pt x="604" y="238"/>
                    </a:lnTo>
                    <a:lnTo>
                      <a:pt x="606" y="240"/>
                    </a:lnTo>
                    <a:lnTo>
                      <a:pt x="607" y="241"/>
                    </a:lnTo>
                    <a:lnTo>
                      <a:pt x="608" y="241"/>
                    </a:lnTo>
                    <a:lnTo>
                      <a:pt x="608" y="240"/>
                    </a:lnTo>
                    <a:lnTo>
                      <a:pt x="609" y="240"/>
                    </a:lnTo>
                    <a:lnTo>
                      <a:pt x="609" y="238"/>
                    </a:lnTo>
                    <a:lnTo>
                      <a:pt x="609" y="240"/>
                    </a:lnTo>
                    <a:lnTo>
                      <a:pt x="609" y="241"/>
                    </a:lnTo>
                    <a:lnTo>
                      <a:pt x="609" y="242"/>
                    </a:lnTo>
                    <a:lnTo>
                      <a:pt x="608" y="242"/>
                    </a:lnTo>
                    <a:lnTo>
                      <a:pt x="607" y="243"/>
                    </a:lnTo>
                    <a:lnTo>
                      <a:pt x="607" y="245"/>
                    </a:lnTo>
                    <a:lnTo>
                      <a:pt x="608" y="247"/>
                    </a:lnTo>
                    <a:lnTo>
                      <a:pt x="609" y="247"/>
                    </a:lnTo>
                    <a:lnTo>
                      <a:pt x="610" y="247"/>
                    </a:lnTo>
                    <a:lnTo>
                      <a:pt x="611" y="248"/>
                    </a:lnTo>
                    <a:lnTo>
                      <a:pt x="613" y="249"/>
                    </a:lnTo>
                    <a:lnTo>
                      <a:pt x="613" y="250"/>
                    </a:lnTo>
                    <a:lnTo>
                      <a:pt x="613" y="251"/>
                    </a:lnTo>
                    <a:lnTo>
                      <a:pt x="611" y="254"/>
                    </a:lnTo>
                    <a:lnTo>
                      <a:pt x="611" y="255"/>
                    </a:lnTo>
                    <a:lnTo>
                      <a:pt x="613" y="256"/>
                    </a:lnTo>
                    <a:lnTo>
                      <a:pt x="615" y="256"/>
                    </a:lnTo>
                    <a:lnTo>
                      <a:pt x="616" y="257"/>
                    </a:lnTo>
                    <a:lnTo>
                      <a:pt x="617" y="259"/>
                    </a:lnTo>
                    <a:lnTo>
                      <a:pt x="621" y="262"/>
                    </a:lnTo>
                    <a:lnTo>
                      <a:pt x="621" y="263"/>
                    </a:lnTo>
                    <a:lnTo>
                      <a:pt x="622" y="266"/>
                    </a:lnTo>
                    <a:lnTo>
                      <a:pt x="622" y="268"/>
                    </a:lnTo>
                    <a:lnTo>
                      <a:pt x="623" y="268"/>
                    </a:lnTo>
                    <a:lnTo>
                      <a:pt x="625" y="271"/>
                    </a:lnTo>
                    <a:lnTo>
                      <a:pt x="627" y="272"/>
                    </a:lnTo>
                    <a:lnTo>
                      <a:pt x="628" y="275"/>
                    </a:lnTo>
                    <a:lnTo>
                      <a:pt x="628" y="276"/>
                    </a:lnTo>
                    <a:lnTo>
                      <a:pt x="630" y="277"/>
                    </a:lnTo>
                    <a:lnTo>
                      <a:pt x="630" y="279"/>
                    </a:lnTo>
                    <a:lnTo>
                      <a:pt x="630" y="280"/>
                    </a:lnTo>
                    <a:lnTo>
                      <a:pt x="631" y="283"/>
                    </a:lnTo>
                    <a:lnTo>
                      <a:pt x="632" y="284"/>
                    </a:lnTo>
                    <a:lnTo>
                      <a:pt x="635" y="285"/>
                    </a:lnTo>
                    <a:lnTo>
                      <a:pt x="636" y="286"/>
                    </a:lnTo>
                    <a:lnTo>
                      <a:pt x="637" y="287"/>
                    </a:lnTo>
                    <a:lnTo>
                      <a:pt x="637" y="289"/>
                    </a:lnTo>
                    <a:lnTo>
                      <a:pt x="638" y="290"/>
                    </a:lnTo>
                    <a:lnTo>
                      <a:pt x="639" y="290"/>
                    </a:lnTo>
                    <a:lnTo>
                      <a:pt x="640" y="291"/>
                    </a:lnTo>
                    <a:lnTo>
                      <a:pt x="640" y="294"/>
                    </a:lnTo>
                    <a:lnTo>
                      <a:pt x="643" y="296"/>
                    </a:lnTo>
                    <a:lnTo>
                      <a:pt x="644" y="297"/>
                    </a:lnTo>
                    <a:lnTo>
                      <a:pt x="645" y="298"/>
                    </a:lnTo>
                    <a:lnTo>
                      <a:pt x="645" y="301"/>
                    </a:lnTo>
                    <a:lnTo>
                      <a:pt x="645" y="303"/>
                    </a:lnTo>
                    <a:lnTo>
                      <a:pt x="646" y="303"/>
                    </a:lnTo>
                    <a:lnTo>
                      <a:pt x="646" y="301"/>
                    </a:lnTo>
                    <a:lnTo>
                      <a:pt x="647" y="300"/>
                    </a:lnTo>
                    <a:lnTo>
                      <a:pt x="646" y="297"/>
                    </a:lnTo>
                    <a:lnTo>
                      <a:pt x="646" y="296"/>
                    </a:lnTo>
                    <a:lnTo>
                      <a:pt x="646" y="294"/>
                    </a:lnTo>
                    <a:lnTo>
                      <a:pt x="644" y="292"/>
                    </a:lnTo>
                    <a:lnTo>
                      <a:pt x="644" y="289"/>
                    </a:lnTo>
                    <a:lnTo>
                      <a:pt x="644" y="285"/>
                    </a:lnTo>
                    <a:lnTo>
                      <a:pt x="645" y="285"/>
                    </a:lnTo>
                    <a:lnTo>
                      <a:pt x="645" y="283"/>
                    </a:lnTo>
                    <a:lnTo>
                      <a:pt x="646" y="282"/>
                    </a:lnTo>
                    <a:lnTo>
                      <a:pt x="645" y="280"/>
                    </a:lnTo>
                    <a:lnTo>
                      <a:pt x="645" y="279"/>
                    </a:lnTo>
                    <a:lnTo>
                      <a:pt x="646" y="278"/>
                    </a:lnTo>
                    <a:lnTo>
                      <a:pt x="646" y="277"/>
                    </a:lnTo>
                    <a:lnTo>
                      <a:pt x="646" y="276"/>
                    </a:lnTo>
                    <a:lnTo>
                      <a:pt x="646" y="275"/>
                    </a:lnTo>
                    <a:lnTo>
                      <a:pt x="647" y="273"/>
                    </a:lnTo>
                    <a:lnTo>
                      <a:pt x="649" y="273"/>
                    </a:lnTo>
                    <a:lnTo>
                      <a:pt x="649" y="272"/>
                    </a:lnTo>
                    <a:lnTo>
                      <a:pt x="649" y="271"/>
                    </a:lnTo>
                    <a:lnTo>
                      <a:pt x="646" y="270"/>
                    </a:lnTo>
                    <a:lnTo>
                      <a:pt x="644" y="265"/>
                    </a:lnTo>
                    <a:lnTo>
                      <a:pt x="643" y="262"/>
                    </a:lnTo>
                    <a:lnTo>
                      <a:pt x="643" y="261"/>
                    </a:lnTo>
                    <a:lnTo>
                      <a:pt x="644" y="259"/>
                    </a:lnTo>
                    <a:lnTo>
                      <a:pt x="644" y="258"/>
                    </a:lnTo>
                    <a:lnTo>
                      <a:pt x="645" y="258"/>
                    </a:lnTo>
                    <a:lnTo>
                      <a:pt x="646" y="258"/>
                    </a:lnTo>
                    <a:lnTo>
                      <a:pt x="647" y="258"/>
                    </a:lnTo>
                    <a:lnTo>
                      <a:pt x="649" y="258"/>
                    </a:lnTo>
                    <a:lnTo>
                      <a:pt x="649" y="259"/>
                    </a:lnTo>
                    <a:lnTo>
                      <a:pt x="650" y="259"/>
                    </a:lnTo>
                    <a:lnTo>
                      <a:pt x="650" y="263"/>
                    </a:lnTo>
                    <a:lnTo>
                      <a:pt x="651" y="263"/>
                    </a:lnTo>
                    <a:lnTo>
                      <a:pt x="651" y="262"/>
                    </a:lnTo>
                    <a:lnTo>
                      <a:pt x="652" y="262"/>
                    </a:lnTo>
                    <a:lnTo>
                      <a:pt x="654" y="263"/>
                    </a:lnTo>
                    <a:lnTo>
                      <a:pt x="656" y="264"/>
                    </a:lnTo>
                    <a:lnTo>
                      <a:pt x="656" y="265"/>
                    </a:lnTo>
                    <a:lnTo>
                      <a:pt x="657" y="265"/>
                    </a:lnTo>
                    <a:lnTo>
                      <a:pt x="657" y="266"/>
                    </a:lnTo>
                    <a:lnTo>
                      <a:pt x="657" y="268"/>
                    </a:lnTo>
                    <a:lnTo>
                      <a:pt x="658" y="268"/>
                    </a:lnTo>
                    <a:lnTo>
                      <a:pt x="660" y="269"/>
                    </a:lnTo>
                    <a:lnTo>
                      <a:pt x="661" y="270"/>
                    </a:lnTo>
                    <a:lnTo>
                      <a:pt x="663" y="271"/>
                    </a:lnTo>
                    <a:lnTo>
                      <a:pt x="664" y="272"/>
                    </a:lnTo>
                    <a:lnTo>
                      <a:pt x="665" y="273"/>
                    </a:lnTo>
                    <a:lnTo>
                      <a:pt x="667" y="273"/>
                    </a:lnTo>
                    <a:lnTo>
                      <a:pt x="667" y="272"/>
                    </a:lnTo>
                    <a:lnTo>
                      <a:pt x="668" y="272"/>
                    </a:lnTo>
                    <a:lnTo>
                      <a:pt x="667" y="271"/>
                    </a:lnTo>
                    <a:lnTo>
                      <a:pt x="666" y="271"/>
                    </a:lnTo>
                    <a:lnTo>
                      <a:pt x="665" y="271"/>
                    </a:lnTo>
                    <a:lnTo>
                      <a:pt x="663" y="269"/>
                    </a:lnTo>
                    <a:lnTo>
                      <a:pt x="661" y="268"/>
                    </a:lnTo>
                    <a:lnTo>
                      <a:pt x="660" y="262"/>
                    </a:lnTo>
                    <a:lnTo>
                      <a:pt x="658" y="259"/>
                    </a:lnTo>
                    <a:lnTo>
                      <a:pt x="658" y="258"/>
                    </a:lnTo>
                    <a:lnTo>
                      <a:pt x="659" y="257"/>
                    </a:lnTo>
                    <a:lnTo>
                      <a:pt x="663" y="258"/>
                    </a:lnTo>
                    <a:lnTo>
                      <a:pt x="663" y="259"/>
                    </a:lnTo>
                    <a:lnTo>
                      <a:pt x="664" y="257"/>
                    </a:lnTo>
                    <a:lnTo>
                      <a:pt x="663" y="257"/>
                    </a:lnTo>
                    <a:lnTo>
                      <a:pt x="661" y="256"/>
                    </a:lnTo>
                    <a:lnTo>
                      <a:pt x="660" y="255"/>
                    </a:lnTo>
                    <a:lnTo>
                      <a:pt x="661" y="254"/>
                    </a:lnTo>
                    <a:lnTo>
                      <a:pt x="663" y="251"/>
                    </a:lnTo>
                    <a:lnTo>
                      <a:pt x="664" y="251"/>
                    </a:lnTo>
                    <a:lnTo>
                      <a:pt x="664" y="250"/>
                    </a:lnTo>
                    <a:lnTo>
                      <a:pt x="665" y="249"/>
                    </a:lnTo>
                    <a:lnTo>
                      <a:pt x="666" y="248"/>
                    </a:lnTo>
                    <a:lnTo>
                      <a:pt x="667" y="248"/>
                    </a:lnTo>
                    <a:lnTo>
                      <a:pt x="668" y="245"/>
                    </a:lnTo>
                    <a:lnTo>
                      <a:pt x="668" y="244"/>
                    </a:lnTo>
                    <a:lnTo>
                      <a:pt x="667" y="243"/>
                    </a:lnTo>
                    <a:lnTo>
                      <a:pt x="666" y="242"/>
                    </a:lnTo>
                    <a:lnTo>
                      <a:pt x="666" y="245"/>
                    </a:lnTo>
                    <a:lnTo>
                      <a:pt x="665" y="247"/>
                    </a:lnTo>
                    <a:lnTo>
                      <a:pt x="660" y="249"/>
                    </a:lnTo>
                    <a:lnTo>
                      <a:pt x="657" y="250"/>
                    </a:lnTo>
                    <a:lnTo>
                      <a:pt x="656" y="249"/>
                    </a:lnTo>
                    <a:lnTo>
                      <a:pt x="652" y="244"/>
                    </a:lnTo>
                    <a:lnTo>
                      <a:pt x="652" y="243"/>
                    </a:lnTo>
                    <a:lnTo>
                      <a:pt x="651" y="241"/>
                    </a:lnTo>
                    <a:lnTo>
                      <a:pt x="651" y="240"/>
                    </a:lnTo>
                    <a:lnTo>
                      <a:pt x="650" y="238"/>
                    </a:lnTo>
                    <a:lnTo>
                      <a:pt x="646" y="237"/>
                    </a:lnTo>
                    <a:lnTo>
                      <a:pt x="645" y="237"/>
                    </a:lnTo>
                    <a:lnTo>
                      <a:pt x="643" y="235"/>
                    </a:lnTo>
                    <a:lnTo>
                      <a:pt x="642" y="234"/>
                    </a:lnTo>
                    <a:lnTo>
                      <a:pt x="636" y="234"/>
                    </a:lnTo>
                    <a:lnTo>
                      <a:pt x="636" y="233"/>
                    </a:lnTo>
                    <a:lnTo>
                      <a:pt x="637" y="233"/>
                    </a:lnTo>
                    <a:lnTo>
                      <a:pt x="638" y="231"/>
                    </a:lnTo>
                    <a:lnTo>
                      <a:pt x="639" y="231"/>
                    </a:lnTo>
                    <a:lnTo>
                      <a:pt x="638" y="229"/>
                    </a:lnTo>
                    <a:lnTo>
                      <a:pt x="642" y="228"/>
                    </a:lnTo>
                    <a:lnTo>
                      <a:pt x="643" y="227"/>
                    </a:lnTo>
                    <a:lnTo>
                      <a:pt x="642" y="226"/>
                    </a:lnTo>
                    <a:lnTo>
                      <a:pt x="642" y="224"/>
                    </a:lnTo>
                    <a:lnTo>
                      <a:pt x="638" y="226"/>
                    </a:lnTo>
                    <a:lnTo>
                      <a:pt x="637" y="224"/>
                    </a:lnTo>
                    <a:lnTo>
                      <a:pt x="638" y="227"/>
                    </a:lnTo>
                    <a:lnTo>
                      <a:pt x="638" y="228"/>
                    </a:lnTo>
                    <a:lnTo>
                      <a:pt x="636" y="228"/>
                    </a:lnTo>
                    <a:lnTo>
                      <a:pt x="635" y="227"/>
                    </a:lnTo>
                    <a:lnTo>
                      <a:pt x="634" y="227"/>
                    </a:lnTo>
                    <a:lnTo>
                      <a:pt x="634" y="226"/>
                    </a:lnTo>
                    <a:lnTo>
                      <a:pt x="631" y="224"/>
                    </a:lnTo>
                    <a:lnTo>
                      <a:pt x="630" y="224"/>
                    </a:lnTo>
                    <a:lnTo>
                      <a:pt x="630" y="223"/>
                    </a:lnTo>
                    <a:lnTo>
                      <a:pt x="629" y="223"/>
                    </a:lnTo>
                    <a:lnTo>
                      <a:pt x="629" y="222"/>
                    </a:lnTo>
                    <a:lnTo>
                      <a:pt x="632" y="223"/>
                    </a:lnTo>
                    <a:lnTo>
                      <a:pt x="634" y="223"/>
                    </a:lnTo>
                    <a:lnTo>
                      <a:pt x="634" y="222"/>
                    </a:lnTo>
                    <a:lnTo>
                      <a:pt x="631" y="220"/>
                    </a:lnTo>
                    <a:lnTo>
                      <a:pt x="634" y="221"/>
                    </a:lnTo>
                    <a:lnTo>
                      <a:pt x="636" y="222"/>
                    </a:lnTo>
                    <a:lnTo>
                      <a:pt x="637" y="223"/>
                    </a:lnTo>
                    <a:lnTo>
                      <a:pt x="639" y="223"/>
                    </a:lnTo>
                    <a:lnTo>
                      <a:pt x="640" y="223"/>
                    </a:lnTo>
                    <a:lnTo>
                      <a:pt x="643" y="224"/>
                    </a:lnTo>
                    <a:lnTo>
                      <a:pt x="644" y="223"/>
                    </a:lnTo>
                    <a:lnTo>
                      <a:pt x="643" y="223"/>
                    </a:lnTo>
                    <a:lnTo>
                      <a:pt x="640" y="222"/>
                    </a:lnTo>
                    <a:lnTo>
                      <a:pt x="642" y="222"/>
                    </a:lnTo>
                    <a:lnTo>
                      <a:pt x="644" y="221"/>
                    </a:lnTo>
                    <a:lnTo>
                      <a:pt x="645" y="221"/>
                    </a:lnTo>
                    <a:lnTo>
                      <a:pt x="637" y="217"/>
                    </a:lnTo>
                    <a:lnTo>
                      <a:pt x="635" y="216"/>
                    </a:lnTo>
                    <a:lnTo>
                      <a:pt x="636" y="216"/>
                    </a:lnTo>
                    <a:lnTo>
                      <a:pt x="637" y="216"/>
                    </a:lnTo>
                    <a:lnTo>
                      <a:pt x="637" y="215"/>
                    </a:lnTo>
                    <a:lnTo>
                      <a:pt x="644" y="216"/>
                    </a:lnTo>
                    <a:lnTo>
                      <a:pt x="649" y="216"/>
                    </a:lnTo>
                    <a:lnTo>
                      <a:pt x="647" y="215"/>
                    </a:lnTo>
                    <a:lnTo>
                      <a:pt x="646" y="214"/>
                    </a:lnTo>
                    <a:lnTo>
                      <a:pt x="645" y="214"/>
                    </a:lnTo>
                    <a:lnTo>
                      <a:pt x="644" y="214"/>
                    </a:lnTo>
                    <a:lnTo>
                      <a:pt x="643" y="213"/>
                    </a:lnTo>
                    <a:lnTo>
                      <a:pt x="643" y="212"/>
                    </a:lnTo>
                    <a:lnTo>
                      <a:pt x="644" y="212"/>
                    </a:lnTo>
                    <a:lnTo>
                      <a:pt x="645" y="213"/>
                    </a:lnTo>
                    <a:lnTo>
                      <a:pt x="646" y="213"/>
                    </a:lnTo>
                    <a:lnTo>
                      <a:pt x="647" y="213"/>
                    </a:lnTo>
                    <a:lnTo>
                      <a:pt x="649" y="213"/>
                    </a:lnTo>
                    <a:lnTo>
                      <a:pt x="649" y="212"/>
                    </a:lnTo>
                    <a:lnTo>
                      <a:pt x="649" y="210"/>
                    </a:lnTo>
                    <a:lnTo>
                      <a:pt x="649" y="209"/>
                    </a:lnTo>
                    <a:lnTo>
                      <a:pt x="647" y="209"/>
                    </a:lnTo>
                    <a:lnTo>
                      <a:pt x="644" y="209"/>
                    </a:lnTo>
                    <a:lnTo>
                      <a:pt x="644" y="208"/>
                    </a:lnTo>
                    <a:lnTo>
                      <a:pt x="643" y="208"/>
                    </a:lnTo>
                    <a:lnTo>
                      <a:pt x="642" y="207"/>
                    </a:lnTo>
                    <a:lnTo>
                      <a:pt x="640" y="207"/>
                    </a:lnTo>
                    <a:lnTo>
                      <a:pt x="640" y="208"/>
                    </a:lnTo>
                    <a:lnTo>
                      <a:pt x="642" y="208"/>
                    </a:lnTo>
                    <a:lnTo>
                      <a:pt x="640" y="209"/>
                    </a:lnTo>
                    <a:lnTo>
                      <a:pt x="639" y="209"/>
                    </a:lnTo>
                    <a:lnTo>
                      <a:pt x="639" y="208"/>
                    </a:lnTo>
                    <a:lnTo>
                      <a:pt x="637" y="207"/>
                    </a:lnTo>
                    <a:lnTo>
                      <a:pt x="636" y="206"/>
                    </a:lnTo>
                    <a:lnTo>
                      <a:pt x="637" y="205"/>
                    </a:lnTo>
                    <a:lnTo>
                      <a:pt x="638" y="203"/>
                    </a:lnTo>
                    <a:lnTo>
                      <a:pt x="637" y="202"/>
                    </a:lnTo>
                    <a:lnTo>
                      <a:pt x="636" y="201"/>
                    </a:lnTo>
                    <a:lnTo>
                      <a:pt x="637" y="199"/>
                    </a:lnTo>
                    <a:lnTo>
                      <a:pt x="638" y="198"/>
                    </a:lnTo>
                    <a:lnTo>
                      <a:pt x="638" y="199"/>
                    </a:lnTo>
                    <a:lnTo>
                      <a:pt x="639" y="199"/>
                    </a:lnTo>
                    <a:lnTo>
                      <a:pt x="639" y="196"/>
                    </a:lnTo>
                    <a:lnTo>
                      <a:pt x="645" y="195"/>
                    </a:lnTo>
                    <a:lnTo>
                      <a:pt x="647" y="196"/>
                    </a:lnTo>
                    <a:lnTo>
                      <a:pt x="647" y="195"/>
                    </a:lnTo>
                    <a:lnTo>
                      <a:pt x="649" y="195"/>
                    </a:lnTo>
                    <a:lnTo>
                      <a:pt x="650" y="196"/>
                    </a:lnTo>
                    <a:lnTo>
                      <a:pt x="651" y="196"/>
                    </a:lnTo>
                    <a:lnTo>
                      <a:pt x="652" y="196"/>
                    </a:lnTo>
                    <a:lnTo>
                      <a:pt x="652" y="198"/>
                    </a:lnTo>
                    <a:lnTo>
                      <a:pt x="653" y="198"/>
                    </a:lnTo>
                    <a:lnTo>
                      <a:pt x="654" y="199"/>
                    </a:lnTo>
                    <a:lnTo>
                      <a:pt x="654" y="200"/>
                    </a:lnTo>
                    <a:lnTo>
                      <a:pt x="653" y="200"/>
                    </a:lnTo>
                    <a:lnTo>
                      <a:pt x="652" y="199"/>
                    </a:lnTo>
                    <a:lnTo>
                      <a:pt x="651" y="200"/>
                    </a:lnTo>
                    <a:lnTo>
                      <a:pt x="652" y="200"/>
                    </a:lnTo>
                    <a:lnTo>
                      <a:pt x="653" y="201"/>
                    </a:lnTo>
                    <a:lnTo>
                      <a:pt x="654" y="201"/>
                    </a:lnTo>
                    <a:lnTo>
                      <a:pt x="656" y="201"/>
                    </a:lnTo>
                    <a:lnTo>
                      <a:pt x="654" y="202"/>
                    </a:lnTo>
                    <a:lnTo>
                      <a:pt x="653" y="202"/>
                    </a:lnTo>
                    <a:lnTo>
                      <a:pt x="651" y="203"/>
                    </a:lnTo>
                    <a:lnTo>
                      <a:pt x="649" y="203"/>
                    </a:lnTo>
                    <a:lnTo>
                      <a:pt x="654" y="207"/>
                    </a:lnTo>
                    <a:lnTo>
                      <a:pt x="657" y="208"/>
                    </a:lnTo>
                    <a:lnTo>
                      <a:pt x="658" y="208"/>
                    </a:lnTo>
                    <a:lnTo>
                      <a:pt x="659" y="208"/>
                    </a:lnTo>
                    <a:lnTo>
                      <a:pt x="659" y="209"/>
                    </a:lnTo>
                    <a:lnTo>
                      <a:pt x="659" y="210"/>
                    </a:lnTo>
                    <a:lnTo>
                      <a:pt x="659" y="212"/>
                    </a:lnTo>
                    <a:lnTo>
                      <a:pt x="658" y="210"/>
                    </a:lnTo>
                    <a:lnTo>
                      <a:pt x="657" y="212"/>
                    </a:lnTo>
                    <a:lnTo>
                      <a:pt x="659" y="215"/>
                    </a:lnTo>
                    <a:lnTo>
                      <a:pt x="660" y="214"/>
                    </a:lnTo>
                    <a:lnTo>
                      <a:pt x="660" y="215"/>
                    </a:lnTo>
                    <a:lnTo>
                      <a:pt x="661" y="215"/>
                    </a:lnTo>
                    <a:lnTo>
                      <a:pt x="661" y="214"/>
                    </a:lnTo>
                    <a:lnTo>
                      <a:pt x="661" y="210"/>
                    </a:lnTo>
                    <a:lnTo>
                      <a:pt x="661" y="209"/>
                    </a:lnTo>
                    <a:lnTo>
                      <a:pt x="661" y="208"/>
                    </a:lnTo>
                    <a:lnTo>
                      <a:pt x="664" y="209"/>
                    </a:lnTo>
                    <a:lnTo>
                      <a:pt x="665" y="209"/>
                    </a:lnTo>
                    <a:lnTo>
                      <a:pt x="665" y="210"/>
                    </a:lnTo>
                    <a:lnTo>
                      <a:pt x="666" y="210"/>
                    </a:lnTo>
                    <a:lnTo>
                      <a:pt x="667" y="212"/>
                    </a:lnTo>
                    <a:lnTo>
                      <a:pt x="668" y="210"/>
                    </a:lnTo>
                    <a:lnTo>
                      <a:pt x="665" y="207"/>
                    </a:lnTo>
                    <a:lnTo>
                      <a:pt x="665" y="205"/>
                    </a:lnTo>
                    <a:lnTo>
                      <a:pt x="667" y="205"/>
                    </a:lnTo>
                    <a:lnTo>
                      <a:pt x="667" y="203"/>
                    </a:lnTo>
                    <a:lnTo>
                      <a:pt x="666" y="203"/>
                    </a:lnTo>
                    <a:lnTo>
                      <a:pt x="664" y="202"/>
                    </a:lnTo>
                    <a:lnTo>
                      <a:pt x="663" y="201"/>
                    </a:lnTo>
                    <a:lnTo>
                      <a:pt x="661" y="200"/>
                    </a:lnTo>
                    <a:lnTo>
                      <a:pt x="663" y="200"/>
                    </a:lnTo>
                    <a:lnTo>
                      <a:pt x="666" y="201"/>
                    </a:lnTo>
                    <a:lnTo>
                      <a:pt x="667" y="201"/>
                    </a:lnTo>
                    <a:lnTo>
                      <a:pt x="670" y="201"/>
                    </a:lnTo>
                    <a:lnTo>
                      <a:pt x="671" y="202"/>
                    </a:lnTo>
                    <a:lnTo>
                      <a:pt x="672" y="202"/>
                    </a:lnTo>
                    <a:lnTo>
                      <a:pt x="673" y="202"/>
                    </a:lnTo>
                    <a:lnTo>
                      <a:pt x="675" y="202"/>
                    </a:lnTo>
                    <a:lnTo>
                      <a:pt x="677" y="202"/>
                    </a:lnTo>
                    <a:lnTo>
                      <a:pt x="679" y="203"/>
                    </a:lnTo>
                    <a:lnTo>
                      <a:pt x="680" y="203"/>
                    </a:lnTo>
                    <a:lnTo>
                      <a:pt x="680" y="205"/>
                    </a:lnTo>
                    <a:lnTo>
                      <a:pt x="682" y="209"/>
                    </a:lnTo>
                    <a:lnTo>
                      <a:pt x="684" y="210"/>
                    </a:lnTo>
                    <a:lnTo>
                      <a:pt x="685" y="210"/>
                    </a:lnTo>
                    <a:lnTo>
                      <a:pt x="691" y="212"/>
                    </a:lnTo>
                    <a:lnTo>
                      <a:pt x="693" y="212"/>
                    </a:lnTo>
                    <a:lnTo>
                      <a:pt x="695" y="208"/>
                    </a:lnTo>
                    <a:lnTo>
                      <a:pt x="696" y="207"/>
                    </a:lnTo>
                    <a:lnTo>
                      <a:pt x="698" y="207"/>
                    </a:lnTo>
                    <a:lnTo>
                      <a:pt x="699" y="208"/>
                    </a:lnTo>
                    <a:lnTo>
                      <a:pt x="701" y="209"/>
                    </a:lnTo>
                    <a:lnTo>
                      <a:pt x="702" y="209"/>
                    </a:lnTo>
                    <a:lnTo>
                      <a:pt x="710" y="209"/>
                    </a:lnTo>
                    <a:lnTo>
                      <a:pt x="713" y="209"/>
                    </a:lnTo>
                    <a:lnTo>
                      <a:pt x="715" y="208"/>
                    </a:lnTo>
                    <a:lnTo>
                      <a:pt x="717" y="208"/>
                    </a:lnTo>
                    <a:lnTo>
                      <a:pt x="720" y="207"/>
                    </a:lnTo>
                    <a:lnTo>
                      <a:pt x="723" y="207"/>
                    </a:lnTo>
                    <a:lnTo>
                      <a:pt x="724" y="208"/>
                    </a:lnTo>
                    <a:lnTo>
                      <a:pt x="725" y="209"/>
                    </a:lnTo>
                    <a:lnTo>
                      <a:pt x="729" y="210"/>
                    </a:lnTo>
                    <a:lnTo>
                      <a:pt x="731" y="209"/>
                    </a:lnTo>
                    <a:lnTo>
                      <a:pt x="732" y="208"/>
                    </a:lnTo>
                    <a:lnTo>
                      <a:pt x="731" y="208"/>
                    </a:lnTo>
                    <a:lnTo>
                      <a:pt x="729" y="208"/>
                    </a:lnTo>
                    <a:lnTo>
                      <a:pt x="728" y="208"/>
                    </a:lnTo>
                    <a:lnTo>
                      <a:pt x="727" y="207"/>
                    </a:lnTo>
                    <a:lnTo>
                      <a:pt x="724" y="207"/>
                    </a:lnTo>
                    <a:lnTo>
                      <a:pt x="722" y="207"/>
                    </a:lnTo>
                    <a:lnTo>
                      <a:pt x="718" y="205"/>
                    </a:lnTo>
                    <a:lnTo>
                      <a:pt x="710" y="203"/>
                    </a:lnTo>
                    <a:lnTo>
                      <a:pt x="709" y="203"/>
                    </a:lnTo>
                    <a:lnTo>
                      <a:pt x="703" y="205"/>
                    </a:lnTo>
                    <a:lnTo>
                      <a:pt x="703" y="206"/>
                    </a:lnTo>
                    <a:lnTo>
                      <a:pt x="702" y="206"/>
                    </a:lnTo>
                    <a:lnTo>
                      <a:pt x="701" y="205"/>
                    </a:lnTo>
                    <a:lnTo>
                      <a:pt x="701" y="206"/>
                    </a:lnTo>
                    <a:lnTo>
                      <a:pt x="700" y="206"/>
                    </a:lnTo>
                    <a:lnTo>
                      <a:pt x="699" y="206"/>
                    </a:lnTo>
                    <a:lnTo>
                      <a:pt x="698" y="206"/>
                    </a:lnTo>
                    <a:lnTo>
                      <a:pt x="698" y="205"/>
                    </a:lnTo>
                    <a:lnTo>
                      <a:pt x="696" y="203"/>
                    </a:lnTo>
                    <a:lnTo>
                      <a:pt x="696" y="202"/>
                    </a:lnTo>
                    <a:lnTo>
                      <a:pt x="695" y="202"/>
                    </a:lnTo>
                    <a:lnTo>
                      <a:pt x="695" y="201"/>
                    </a:lnTo>
                    <a:lnTo>
                      <a:pt x="696" y="199"/>
                    </a:lnTo>
                    <a:lnTo>
                      <a:pt x="695" y="198"/>
                    </a:lnTo>
                    <a:lnTo>
                      <a:pt x="695" y="196"/>
                    </a:lnTo>
                    <a:lnTo>
                      <a:pt x="695" y="195"/>
                    </a:lnTo>
                    <a:lnTo>
                      <a:pt x="695" y="194"/>
                    </a:lnTo>
                    <a:lnTo>
                      <a:pt x="695" y="193"/>
                    </a:lnTo>
                    <a:lnTo>
                      <a:pt x="698" y="193"/>
                    </a:lnTo>
                    <a:lnTo>
                      <a:pt x="698" y="192"/>
                    </a:lnTo>
                    <a:lnTo>
                      <a:pt x="698" y="191"/>
                    </a:lnTo>
                    <a:lnTo>
                      <a:pt x="698" y="186"/>
                    </a:lnTo>
                    <a:lnTo>
                      <a:pt x="698" y="185"/>
                    </a:lnTo>
                    <a:lnTo>
                      <a:pt x="699" y="185"/>
                    </a:lnTo>
                    <a:lnTo>
                      <a:pt x="700" y="185"/>
                    </a:lnTo>
                    <a:lnTo>
                      <a:pt x="701" y="186"/>
                    </a:lnTo>
                    <a:lnTo>
                      <a:pt x="701" y="187"/>
                    </a:lnTo>
                    <a:lnTo>
                      <a:pt x="701" y="188"/>
                    </a:lnTo>
                    <a:lnTo>
                      <a:pt x="701" y="189"/>
                    </a:lnTo>
                    <a:lnTo>
                      <a:pt x="703" y="191"/>
                    </a:lnTo>
                    <a:lnTo>
                      <a:pt x="703" y="192"/>
                    </a:lnTo>
                    <a:lnTo>
                      <a:pt x="704" y="193"/>
                    </a:lnTo>
                    <a:lnTo>
                      <a:pt x="704" y="192"/>
                    </a:lnTo>
                    <a:lnTo>
                      <a:pt x="706" y="189"/>
                    </a:lnTo>
                    <a:lnTo>
                      <a:pt x="708" y="188"/>
                    </a:lnTo>
                    <a:lnTo>
                      <a:pt x="709" y="188"/>
                    </a:lnTo>
                    <a:lnTo>
                      <a:pt x="709" y="187"/>
                    </a:lnTo>
                    <a:lnTo>
                      <a:pt x="708" y="181"/>
                    </a:lnTo>
                    <a:lnTo>
                      <a:pt x="708" y="179"/>
                    </a:lnTo>
                    <a:lnTo>
                      <a:pt x="708" y="178"/>
                    </a:lnTo>
                    <a:lnTo>
                      <a:pt x="710" y="178"/>
                    </a:lnTo>
                    <a:lnTo>
                      <a:pt x="709" y="177"/>
                    </a:lnTo>
                    <a:lnTo>
                      <a:pt x="709" y="175"/>
                    </a:lnTo>
                    <a:lnTo>
                      <a:pt x="709" y="172"/>
                    </a:lnTo>
                    <a:lnTo>
                      <a:pt x="710" y="171"/>
                    </a:lnTo>
                    <a:lnTo>
                      <a:pt x="711" y="170"/>
                    </a:lnTo>
                    <a:lnTo>
                      <a:pt x="713" y="170"/>
                    </a:lnTo>
                    <a:lnTo>
                      <a:pt x="714" y="171"/>
                    </a:lnTo>
                    <a:lnTo>
                      <a:pt x="715" y="171"/>
                    </a:lnTo>
                    <a:lnTo>
                      <a:pt x="715" y="168"/>
                    </a:lnTo>
                    <a:lnTo>
                      <a:pt x="715" y="167"/>
                    </a:lnTo>
                    <a:lnTo>
                      <a:pt x="716" y="166"/>
                    </a:lnTo>
                    <a:lnTo>
                      <a:pt x="717" y="165"/>
                    </a:lnTo>
                    <a:lnTo>
                      <a:pt x="715" y="164"/>
                    </a:lnTo>
                    <a:lnTo>
                      <a:pt x="714" y="164"/>
                    </a:lnTo>
                    <a:lnTo>
                      <a:pt x="710" y="165"/>
                    </a:lnTo>
                    <a:lnTo>
                      <a:pt x="709" y="165"/>
                    </a:lnTo>
                    <a:lnTo>
                      <a:pt x="709" y="166"/>
                    </a:lnTo>
                    <a:lnTo>
                      <a:pt x="707" y="168"/>
                    </a:lnTo>
                    <a:lnTo>
                      <a:pt x="706" y="171"/>
                    </a:lnTo>
                    <a:lnTo>
                      <a:pt x="703" y="178"/>
                    </a:lnTo>
                    <a:lnTo>
                      <a:pt x="701" y="180"/>
                    </a:lnTo>
                    <a:lnTo>
                      <a:pt x="701" y="179"/>
                    </a:lnTo>
                    <a:lnTo>
                      <a:pt x="701" y="178"/>
                    </a:lnTo>
                    <a:lnTo>
                      <a:pt x="701" y="177"/>
                    </a:lnTo>
                    <a:lnTo>
                      <a:pt x="701" y="175"/>
                    </a:lnTo>
                    <a:lnTo>
                      <a:pt x="700" y="175"/>
                    </a:lnTo>
                    <a:lnTo>
                      <a:pt x="700" y="173"/>
                    </a:lnTo>
                    <a:lnTo>
                      <a:pt x="698" y="170"/>
                    </a:lnTo>
                    <a:lnTo>
                      <a:pt x="696" y="168"/>
                    </a:lnTo>
                    <a:lnTo>
                      <a:pt x="696" y="170"/>
                    </a:lnTo>
                    <a:lnTo>
                      <a:pt x="695" y="171"/>
                    </a:lnTo>
                    <a:lnTo>
                      <a:pt x="694" y="172"/>
                    </a:lnTo>
                    <a:lnTo>
                      <a:pt x="694" y="166"/>
                    </a:lnTo>
                    <a:lnTo>
                      <a:pt x="693" y="165"/>
                    </a:lnTo>
                    <a:lnTo>
                      <a:pt x="693" y="164"/>
                    </a:lnTo>
                    <a:lnTo>
                      <a:pt x="692" y="163"/>
                    </a:lnTo>
                    <a:lnTo>
                      <a:pt x="693" y="161"/>
                    </a:lnTo>
                    <a:lnTo>
                      <a:pt x="693" y="160"/>
                    </a:lnTo>
                    <a:lnTo>
                      <a:pt x="692" y="158"/>
                    </a:lnTo>
                    <a:lnTo>
                      <a:pt x="692" y="157"/>
                    </a:lnTo>
                    <a:lnTo>
                      <a:pt x="693" y="157"/>
                    </a:lnTo>
                    <a:lnTo>
                      <a:pt x="693" y="156"/>
                    </a:lnTo>
                    <a:lnTo>
                      <a:pt x="693" y="154"/>
                    </a:lnTo>
                    <a:lnTo>
                      <a:pt x="694" y="157"/>
                    </a:lnTo>
                    <a:lnTo>
                      <a:pt x="695" y="154"/>
                    </a:lnTo>
                    <a:lnTo>
                      <a:pt x="695" y="153"/>
                    </a:lnTo>
                    <a:lnTo>
                      <a:pt x="694" y="152"/>
                    </a:lnTo>
                    <a:lnTo>
                      <a:pt x="693" y="152"/>
                    </a:lnTo>
                    <a:lnTo>
                      <a:pt x="693" y="149"/>
                    </a:lnTo>
                    <a:lnTo>
                      <a:pt x="692" y="147"/>
                    </a:lnTo>
                    <a:lnTo>
                      <a:pt x="691" y="146"/>
                    </a:lnTo>
                    <a:lnTo>
                      <a:pt x="692" y="146"/>
                    </a:lnTo>
                    <a:lnTo>
                      <a:pt x="693" y="146"/>
                    </a:lnTo>
                    <a:lnTo>
                      <a:pt x="694" y="146"/>
                    </a:lnTo>
                    <a:lnTo>
                      <a:pt x="695" y="146"/>
                    </a:lnTo>
                    <a:lnTo>
                      <a:pt x="696" y="145"/>
                    </a:lnTo>
                    <a:lnTo>
                      <a:pt x="696" y="143"/>
                    </a:lnTo>
                    <a:lnTo>
                      <a:pt x="698" y="142"/>
                    </a:lnTo>
                    <a:lnTo>
                      <a:pt x="700" y="142"/>
                    </a:lnTo>
                    <a:lnTo>
                      <a:pt x="702" y="142"/>
                    </a:lnTo>
                    <a:lnTo>
                      <a:pt x="704" y="143"/>
                    </a:lnTo>
                    <a:lnTo>
                      <a:pt x="704" y="144"/>
                    </a:lnTo>
                    <a:lnTo>
                      <a:pt x="707" y="144"/>
                    </a:lnTo>
                    <a:lnTo>
                      <a:pt x="708" y="144"/>
                    </a:lnTo>
                    <a:lnTo>
                      <a:pt x="709" y="143"/>
                    </a:lnTo>
                    <a:lnTo>
                      <a:pt x="708" y="138"/>
                    </a:lnTo>
                    <a:lnTo>
                      <a:pt x="708" y="137"/>
                    </a:lnTo>
                    <a:lnTo>
                      <a:pt x="709" y="137"/>
                    </a:lnTo>
                    <a:lnTo>
                      <a:pt x="709" y="139"/>
                    </a:lnTo>
                    <a:lnTo>
                      <a:pt x="710" y="140"/>
                    </a:lnTo>
                    <a:lnTo>
                      <a:pt x="711" y="142"/>
                    </a:lnTo>
                    <a:lnTo>
                      <a:pt x="713" y="140"/>
                    </a:lnTo>
                    <a:lnTo>
                      <a:pt x="713" y="139"/>
                    </a:lnTo>
                    <a:lnTo>
                      <a:pt x="711" y="138"/>
                    </a:lnTo>
                    <a:lnTo>
                      <a:pt x="711" y="137"/>
                    </a:lnTo>
                    <a:lnTo>
                      <a:pt x="711" y="135"/>
                    </a:lnTo>
                    <a:lnTo>
                      <a:pt x="713" y="133"/>
                    </a:lnTo>
                    <a:lnTo>
                      <a:pt x="715" y="132"/>
                    </a:lnTo>
                    <a:lnTo>
                      <a:pt x="715" y="131"/>
                    </a:lnTo>
                    <a:lnTo>
                      <a:pt x="714" y="131"/>
                    </a:lnTo>
                    <a:lnTo>
                      <a:pt x="713" y="130"/>
                    </a:lnTo>
                    <a:lnTo>
                      <a:pt x="711" y="131"/>
                    </a:lnTo>
                    <a:lnTo>
                      <a:pt x="710" y="132"/>
                    </a:lnTo>
                    <a:lnTo>
                      <a:pt x="710" y="131"/>
                    </a:lnTo>
                    <a:lnTo>
                      <a:pt x="710" y="130"/>
                    </a:lnTo>
                    <a:lnTo>
                      <a:pt x="711" y="130"/>
                    </a:lnTo>
                    <a:lnTo>
                      <a:pt x="711" y="129"/>
                    </a:lnTo>
                    <a:lnTo>
                      <a:pt x="713" y="129"/>
                    </a:lnTo>
                    <a:lnTo>
                      <a:pt x="713" y="128"/>
                    </a:lnTo>
                    <a:lnTo>
                      <a:pt x="711" y="128"/>
                    </a:lnTo>
                    <a:lnTo>
                      <a:pt x="710" y="128"/>
                    </a:lnTo>
                    <a:lnTo>
                      <a:pt x="709" y="126"/>
                    </a:lnTo>
                    <a:lnTo>
                      <a:pt x="709" y="124"/>
                    </a:lnTo>
                    <a:lnTo>
                      <a:pt x="711" y="125"/>
                    </a:lnTo>
                    <a:lnTo>
                      <a:pt x="713" y="125"/>
                    </a:lnTo>
                    <a:lnTo>
                      <a:pt x="711" y="125"/>
                    </a:lnTo>
                    <a:lnTo>
                      <a:pt x="713" y="124"/>
                    </a:lnTo>
                    <a:lnTo>
                      <a:pt x="714" y="125"/>
                    </a:lnTo>
                    <a:lnTo>
                      <a:pt x="716" y="126"/>
                    </a:lnTo>
                    <a:lnTo>
                      <a:pt x="717" y="126"/>
                    </a:lnTo>
                    <a:lnTo>
                      <a:pt x="716" y="128"/>
                    </a:lnTo>
                    <a:lnTo>
                      <a:pt x="715" y="130"/>
                    </a:lnTo>
                    <a:lnTo>
                      <a:pt x="716" y="130"/>
                    </a:lnTo>
                    <a:lnTo>
                      <a:pt x="718" y="128"/>
                    </a:lnTo>
                    <a:lnTo>
                      <a:pt x="720" y="126"/>
                    </a:lnTo>
                    <a:lnTo>
                      <a:pt x="721" y="128"/>
                    </a:lnTo>
                    <a:lnTo>
                      <a:pt x="722" y="128"/>
                    </a:lnTo>
                    <a:lnTo>
                      <a:pt x="722" y="129"/>
                    </a:lnTo>
                    <a:lnTo>
                      <a:pt x="722" y="130"/>
                    </a:lnTo>
                    <a:lnTo>
                      <a:pt x="722" y="131"/>
                    </a:lnTo>
                    <a:lnTo>
                      <a:pt x="723" y="131"/>
                    </a:lnTo>
                    <a:lnTo>
                      <a:pt x="724" y="130"/>
                    </a:lnTo>
                    <a:lnTo>
                      <a:pt x="725" y="130"/>
                    </a:lnTo>
                    <a:lnTo>
                      <a:pt x="728" y="130"/>
                    </a:lnTo>
                    <a:lnTo>
                      <a:pt x="729" y="131"/>
                    </a:lnTo>
                    <a:lnTo>
                      <a:pt x="730" y="133"/>
                    </a:lnTo>
                    <a:lnTo>
                      <a:pt x="731" y="133"/>
                    </a:lnTo>
                    <a:lnTo>
                      <a:pt x="731" y="135"/>
                    </a:lnTo>
                    <a:lnTo>
                      <a:pt x="732" y="135"/>
                    </a:lnTo>
                    <a:lnTo>
                      <a:pt x="734" y="135"/>
                    </a:lnTo>
                    <a:lnTo>
                      <a:pt x="734" y="136"/>
                    </a:lnTo>
                    <a:lnTo>
                      <a:pt x="734" y="137"/>
                    </a:lnTo>
                    <a:lnTo>
                      <a:pt x="734" y="139"/>
                    </a:lnTo>
                    <a:lnTo>
                      <a:pt x="735" y="139"/>
                    </a:lnTo>
                    <a:lnTo>
                      <a:pt x="736" y="138"/>
                    </a:lnTo>
                    <a:lnTo>
                      <a:pt x="737" y="138"/>
                    </a:lnTo>
                    <a:lnTo>
                      <a:pt x="737" y="139"/>
                    </a:lnTo>
                    <a:lnTo>
                      <a:pt x="737" y="140"/>
                    </a:lnTo>
                    <a:lnTo>
                      <a:pt x="738" y="140"/>
                    </a:lnTo>
                    <a:lnTo>
                      <a:pt x="738" y="139"/>
                    </a:lnTo>
                    <a:lnTo>
                      <a:pt x="738" y="138"/>
                    </a:lnTo>
                    <a:lnTo>
                      <a:pt x="739" y="137"/>
                    </a:lnTo>
                    <a:lnTo>
                      <a:pt x="741" y="137"/>
                    </a:lnTo>
                    <a:lnTo>
                      <a:pt x="746" y="140"/>
                    </a:lnTo>
                    <a:lnTo>
                      <a:pt x="749" y="142"/>
                    </a:lnTo>
                    <a:lnTo>
                      <a:pt x="748" y="140"/>
                    </a:lnTo>
                    <a:lnTo>
                      <a:pt x="744" y="138"/>
                    </a:lnTo>
                    <a:lnTo>
                      <a:pt x="744" y="137"/>
                    </a:lnTo>
                    <a:lnTo>
                      <a:pt x="739" y="135"/>
                    </a:lnTo>
                    <a:lnTo>
                      <a:pt x="739" y="133"/>
                    </a:lnTo>
                    <a:lnTo>
                      <a:pt x="741" y="129"/>
                    </a:lnTo>
                    <a:lnTo>
                      <a:pt x="742" y="128"/>
                    </a:lnTo>
                    <a:lnTo>
                      <a:pt x="743" y="128"/>
                    </a:lnTo>
                    <a:lnTo>
                      <a:pt x="744" y="126"/>
                    </a:lnTo>
                    <a:lnTo>
                      <a:pt x="743" y="126"/>
                    </a:lnTo>
                    <a:lnTo>
                      <a:pt x="742" y="126"/>
                    </a:lnTo>
                    <a:lnTo>
                      <a:pt x="742" y="125"/>
                    </a:lnTo>
                    <a:lnTo>
                      <a:pt x="741" y="124"/>
                    </a:lnTo>
                    <a:lnTo>
                      <a:pt x="741" y="126"/>
                    </a:lnTo>
                    <a:lnTo>
                      <a:pt x="739" y="126"/>
                    </a:lnTo>
                    <a:lnTo>
                      <a:pt x="737" y="125"/>
                    </a:lnTo>
                    <a:lnTo>
                      <a:pt x="737" y="124"/>
                    </a:lnTo>
                    <a:lnTo>
                      <a:pt x="736" y="125"/>
                    </a:lnTo>
                    <a:lnTo>
                      <a:pt x="732" y="128"/>
                    </a:lnTo>
                    <a:lnTo>
                      <a:pt x="730" y="128"/>
                    </a:lnTo>
                    <a:lnTo>
                      <a:pt x="729" y="130"/>
                    </a:lnTo>
                    <a:lnTo>
                      <a:pt x="728" y="130"/>
                    </a:lnTo>
                    <a:lnTo>
                      <a:pt x="728" y="129"/>
                    </a:lnTo>
                    <a:lnTo>
                      <a:pt x="727" y="129"/>
                    </a:lnTo>
                    <a:lnTo>
                      <a:pt x="727" y="126"/>
                    </a:lnTo>
                    <a:lnTo>
                      <a:pt x="725" y="126"/>
                    </a:lnTo>
                    <a:lnTo>
                      <a:pt x="725" y="125"/>
                    </a:lnTo>
                    <a:lnTo>
                      <a:pt x="727" y="124"/>
                    </a:lnTo>
                    <a:lnTo>
                      <a:pt x="728" y="123"/>
                    </a:lnTo>
                    <a:lnTo>
                      <a:pt x="728" y="122"/>
                    </a:lnTo>
                    <a:lnTo>
                      <a:pt x="729" y="121"/>
                    </a:lnTo>
                    <a:lnTo>
                      <a:pt x="730" y="121"/>
                    </a:lnTo>
                    <a:lnTo>
                      <a:pt x="731" y="119"/>
                    </a:lnTo>
                    <a:lnTo>
                      <a:pt x="732" y="121"/>
                    </a:lnTo>
                    <a:lnTo>
                      <a:pt x="734" y="121"/>
                    </a:lnTo>
                    <a:lnTo>
                      <a:pt x="735" y="119"/>
                    </a:lnTo>
                    <a:lnTo>
                      <a:pt x="737" y="116"/>
                    </a:lnTo>
                    <a:lnTo>
                      <a:pt x="736" y="116"/>
                    </a:lnTo>
                    <a:lnTo>
                      <a:pt x="735" y="115"/>
                    </a:lnTo>
                    <a:lnTo>
                      <a:pt x="734" y="115"/>
                    </a:lnTo>
                    <a:lnTo>
                      <a:pt x="734" y="117"/>
                    </a:lnTo>
                    <a:lnTo>
                      <a:pt x="732" y="117"/>
                    </a:lnTo>
                    <a:lnTo>
                      <a:pt x="731" y="116"/>
                    </a:lnTo>
                    <a:lnTo>
                      <a:pt x="731" y="117"/>
                    </a:lnTo>
                    <a:lnTo>
                      <a:pt x="731" y="118"/>
                    </a:lnTo>
                    <a:lnTo>
                      <a:pt x="730" y="118"/>
                    </a:lnTo>
                    <a:lnTo>
                      <a:pt x="729" y="119"/>
                    </a:lnTo>
                    <a:lnTo>
                      <a:pt x="725" y="122"/>
                    </a:lnTo>
                    <a:lnTo>
                      <a:pt x="724" y="123"/>
                    </a:lnTo>
                    <a:lnTo>
                      <a:pt x="724" y="122"/>
                    </a:lnTo>
                    <a:lnTo>
                      <a:pt x="724" y="121"/>
                    </a:lnTo>
                    <a:lnTo>
                      <a:pt x="724" y="122"/>
                    </a:lnTo>
                    <a:lnTo>
                      <a:pt x="723" y="122"/>
                    </a:lnTo>
                    <a:lnTo>
                      <a:pt x="723" y="121"/>
                    </a:lnTo>
                    <a:lnTo>
                      <a:pt x="723" y="119"/>
                    </a:lnTo>
                    <a:lnTo>
                      <a:pt x="723" y="118"/>
                    </a:lnTo>
                    <a:lnTo>
                      <a:pt x="724" y="117"/>
                    </a:lnTo>
                    <a:lnTo>
                      <a:pt x="723" y="117"/>
                    </a:lnTo>
                    <a:lnTo>
                      <a:pt x="722" y="117"/>
                    </a:lnTo>
                    <a:lnTo>
                      <a:pt x="721" y="117"/>
                    </a:lnTo>
                    <a:lnTo>
                      <a:pt x="722" y="115"/>
                    </a:lnTo>
                    <a:lnTo>
                      <a:pt x="723" y="115"/>
                    </a:lnTo>
                    <a:lnTo>
                      <a:pt x="723" y="114"/>
                    </a:lnTo>
                    <a:lnTo>
                      <a:pt x="723" y="112"/>
                    </a:lnTo>
                    <a:lnTo>
                      <a:pt x="724" y="112"/>
                    </a:lnTo>
                    <a:lnTo>
                      <a:pt x="725" y="112"/>
                    </a:lnTo>
                    <a:lnTo>
                      <a:pt x="727" y="112"/>
                    </a:lnTo>
                    <a:lnTo>
                      <a:pt x="728" y="112"/>
                    </a:lnTo>
                    <a:lnTo>
                      <a:pt x="729" y="112"/>
                    </a:lnTo>
                    <a:lnTo>
                      <a:pt x="730" y="114"/>
                    </a:lnTo>
                    <a:lnTo>
                      <a:pt x="731" y="114"/>
                    </a:lnTo>
                    <a:lnTo>
                      <a:pt x="732" y="111"/>
                    </a:lnTo>
                    <a:lnTo>
                      <a:pt x="734" y="110"/>
                    </a:lnTo>
                    <a:lnTo>
                      <a:pt x="735" y="111"/>
                    </a:lnTo>
                    <a:lnTo>
                      <a:pt x="735" y="110"/>
                    </a:lnTo>
                    <a:lnTo>
                      <a:pt x="735" y="109"/>
                    </a:lnTo>
                    <a:lnTo>
                      <a:pt x="735" y="107"/>
                    </a:lnTo>
                    <a:lnTo>
                      <a:pt x="734" y="107"/>
                    </a:lnTo>
                    <a:lnTo>
                      <a:pt x="734" y="105"/>
                    </a:lnTo>
                    <a:lnTo>
                      <a:pt x="734" y="104"/>
                    </a:lnTo>
                    <a:lnTo>
                      <a:pt x="732" y="103"/>
                    </a:lnTo>
                    <a:lnTo>
                      <a:pt x="732" y="102"/>
                    </a:lnTo>
                    <a:lnTo>
                      <a:pt x="734" y="102"/>
                    </a:lnTo>
                    <a:lnTo>
                      <a:pt x="735" y="103"/>
                    </a:lnTo>
                    <a:lnTo>
                      <a:pt x="736" y="102"/>
                    </a:lnTo>
                    <a:lnTo>
                      <a:pt x="737" y="102"/>
                    </a:lnTo>
                    <a:lnTo>
                      <a:pt x="738" y="102"/>
                    </a:lnTo>
                    <a:lnTo>
                      <a:pt x="738" y="103"/>
                    </a:lnTo>
                    <a:lnTo>
                      <a:pt x="737" y="104"/>
                    </a:lnTo>
                    <a:lnTo>
                      <a:pt x="737" y="107"/>
                    </a:lnTo>
                    <a:lnTo>
                      <a:pt x="737" y="105"/>
                    </a:lnTo>
                    <a:lnTo>
                      <a:pt x="738" y="108"/>
                    </a:lnTo>
                    <a:lnTo>
                      <a:pt x="739" y="105"/>
                    </a:lnTo>
                    <a:lnTo>
                      <a:pt x="741" y="105"/>
                    </a:lnTo>
                    <a:lnTo>
                      <a:pt x="742" y="107"/>
                    </a:lnTo>
                    <a:lnTo>
                      <a:pt x="742" y="108"/>
                    </a:lnTo>
                    <a:lnTo>
                      <a:pt x="741" y="108"/>
                    </a:lnTo>
                    <a:lnTo>
                      <a:pt x="741" y="109"/>
                    </a:lnTo>
                    <a:lnTo>
                      <a:pt x="743" y="111"/>
                    </a:lnTo>
                    <a:lnTo>
                      <a:pt x="743" y="112"/>
                    </a:lnTo>
                    <a:lnTo>
                      <a:pt x="744" y="115"/>
                    </a:lnTo>
                    <a:lnTo>
                      <a:pt x="745" y="115"/>
                    </a:lnTo>
                    <a:lnTo>
                      <a:pt x="745" y="114"/>
                    </a:lnTo>
                    <a:lnTo>
                      <a:pt x="745" y="112"/>
                    </a:lnTo>
                    <a:lnTo>
                      <a:pt x="745" y="111"/>
                    </a:lnTo>
                    <a:lnTo>
                      <a:pt x="744" y="108"/>
                    </a:lnTo>
                    <a:lnTo>
                      <a:pt x="743" y="107"/>
                    </a:lnTo>
                    <a:lnTo>
                      <a:pt x="743" y="105"/>
                    </a:lnTo>
                    <a:lnTo>
                      <a:pt x="744" y="104"/>
                    </a:lnTo>
                    <a:lnTo>
                      <a:pt x="744" y="105"/>
                    </a:lnTo>
                    <a:lnTo>
                      <a:pt x="745" y="107"/>
                    </a:lnTo>
                    <a:lnTo>
                      <a:pt x="746" y="107"/>
                    </a:lnTo>
                    <a:lnTo>
                      <a:pt x="748" y="107"/>
                    </a:lnTo>
                    <a:lnTo>
                      <a:pt x="748" y="108"/>
                    </a:lnTo>
                    <a:lnTo>
                      <a:pt x="749" y="108"/>
                    </a:lnTo>
                    <a:lnTo>
                      <a:pt x="750" y="108"/>
                    </a:lnTo>
                    <a:lnTo>
                      <a:pt x="751" y="109"/>
                    </a:lnTo>
                    <a:lnTo>
                      <a:pt x="753" y="110"/>
                    </a:lnTo>
                    <a:lnTo>
                      <a:pt x="753" y="111"/>
                    </a:lnTo>
                    <a:lnTo>
                      <a:pt x="752" y="112"/>
                    </a:lnTo>
                    <a:lnTo>
                      <a:pt x="753" y="112"/>
                    </a:lnTo>
                    <a:lnTo>
                      <a:pt x="756" y="114"/>
                    </a:lnTo>
                    <a:lnTo>
                      <a:pt x="757" y="114"/>
                    </a:lnTo>
                    <a:lnTo>
                      <a:pt x="757" y="112"/>
                    </a:lnTo>
                    <a:lnTo>
                      <a:pt x="758" y="112"/>
                    </a:lnTo>
                    <a:lnTo>
                      <a:pt x="763" y="112"/>
                    </a:lnTo>
                    <a:lnTo>
                      <a:pt x="764" y="112"/>
                    </a:lnTo>
                    <a:lnTo>
                      <a:pt x="764" y="111"/>
                    </a:lnTo>
                    <a:lnTo>
                      <a:pt x="764" y="110"/>
                    </a:lnTo>
                    <a:lnTo>
                      <a:pt x="762" y="111"/>
                    </a:lnTo>
                    <a:lnTo>
                      <a:pt x="760" y="111"/>
                    </a:lnTo>
                    <a:lnTo>
                      <a:pt x="759" y="110"/>
                    </a:lnTo>
                    <a:lnTo>
                      <a:pt x="759" y="109"/>
                    </a:lnTo>
                    <a:lnTo>
                      <a:pt x="760" y="109"/>
                    </a:lnTo>
                    <a:lnTo>
                      <a:pt x="760" y="108"/>
                    </a:lnTo>
                    <a:lnTo>
                      <a:pt x="760" y="107"/>
                    </a:lnTo>
                    <a:lnTo>
                      <a:pt x="759" y="107"/>
                    </a:lnTo>
                    <a:lnTo>
                      <a:pt x="759" y="105"/>
                    </a:lnTo>
                    <a:lnTo>
                      <a:pt x="760" y="105"/>
                    </a:lnTo>
                    <a:lnTo>
                      <a:pt x="762" y="104"/>
                    </a:lnTo>
                    <a:lnTo>
                      <a:pt x="763" y="103"/>
                    </a:lnTo>
                    <a:lnTo>
                      <a:pt x="763" y="102"/>
                    </a:lnTo>
                    <a:lnTo>
                      <a:pt x="760" y="103"/>
                    </a:lnTo>
                    <a:lnTo>
                      <a:pt x="758" y="103"/>
                    </a:lnTo>
                    <a:lnTo>
                      <a:pt x="758" y="102"/>
                    </a:lnTo>
                    <a:lnTo>
                      <a:pt x="757" y="102"/>
                    </a:lnTo>
                    <a:lnTo>
                      <a:pt x="756" y="102"/>
                    </a:lnTo>
                    <a:lnTo>
                      <a:pt x="756" y="101"/>
                    </a:lnTo>
                    <a:lnTo>
                      <a:pt x="755" y="102"/>
                    </a:lnTo>
                    <a:lnTo>
                      <a:pt x="753" y="102"/>
                    </a:lnTo>
                    <a:lnTo>
                      <a:pt x="752" y="102"/>
                    </a:lnTo>
                    <a:lnTo>
                      <a:pt x="752" y="101"/>
                    </a:lnTo>
                    <a:lnTo>
                      <a:pt x="752" y="100"/>
                    </a:lnTo>
                    <a:lnTo>
                      <a:pt x="751" y="100"/>
                    </a:lnTo>
                    <a:lnTo>
                      <a:pt x="750" y="101"/>
                    </a:lnTo>
                    <a:lnTo>
                      <a:pt x="749" y="100"/>
                    </a:lnTo>
                    <a:lnTo>
                      <a:pt x="748" y="100"/>
                    </a:lnTo>
                    <a:lnTo>
                      <a:pt x="746" y="100"/>
                    </a:lnTo>
                    <a:lnTo>
                      <a:pt x="745" y="100"/>
                    </a:lnTo>
                    <a:lnTo>
                      <a:pt x="745" y="98"/>
                    </a:lnTo>
                    <a:lnTo>
                      <a:pt x="746" y="98"/>
                    </a:lnTo>
                    <a:lnTo>
                      <a:pt x="746" y="97"/>
                    </a:lnTo>
                    <a:lnTo>
                      <a:pt x="748" y="96"/>
                    </a:lnTo>
                    <a:lnTo>
                      <a:pt x="749" y="96"/>
                    </a:lnTo>
                    <a:lnTo>
                      <a:pt x="750" y="96"/>
                    </a:lnTo>
                    <a:lnTo>
                      <a:pt x="751" y="97"/>
                    </a:lnTo>
                    <a:lnTo>
                      <a:pt x="752" y="97"/>
                    </a:lnTo>
                    <a:lnTo>
                      <a:pt x="753" y="96"/>
                    </a:lnTo>
                    <a:lnTo>
                      <a:pt x="752" y="95"/>
                    </a:lnTo>
                    <a:lnTo>
                      <a:pt x="753" y="94"/>
                    </a:lnTo>
                    <a:lnTo>
                      <a:pt x="753" y="93"/>
                    </a:lnTo>
                    <a:lnTo>
                      <a:pt x="751" y="93"/>
                    </a:lnTo>
                    <a:lnTo>
                      <a:pt x="749" y="93"/>
                    </a:lnTo>
                    <a:lnTo>
                      <a:pt x="748" y="91"/>
                    </a:lnTo>
                    <a:lnTo>
                      <a:pt x="746" y="91"/>
                    </a:lnTo>
                    <a:lnTo>
                      <a:pt x="745" y="90"/>
                    </a:lnTo>
                    <a:lnTo>
                      <a:pt x="745" y="87"/>
                    </a:lnTo>
                    <a:lnTo>
                      <a:pt x="744" y="87"/>
                    </a:lnTo>
                    <a:lnTo>
                      <a:pt x="743" y="87"/>
                    </a:lnTo>
                    <a:lnTo>
                      <a:pt x="742" y="86"/>
                    </a:lnTo>
                    <a:lnTo>
                      <a:pt x="741" y="86"/>
                    </a:lnTo>
                    <a:lnTo>
                      <a:pt x="741" y="84"/>
                    </a:lnTo>
                    <a:lnTo>
                      <a:pt x="742" y="83"/>
                    </a:lnTo>
                    <a:lnTo>
                      <a:pt x="743" y="83"/>
                    </a:lnTo>
                    <a:lnTo>
                      <a:pt x="744" y="83"/>
                    </a:lnTo>
                    <a:lnTo>
                      <a:pt x="744" y="82"/>
                    </a:lnTo>
                    <a:lnTo>
                      <a:pt x="743" y="82"/>
                    </a:lnTo>
                    <a:lnTo>
                      <a:pt x="743" y="81"/>
                    </a:lnTo>
                    <a:lnTo>
                      <a:pt x="744" y="81"/>
                    </a:lnTo>
                    <a:lnTo>
                      <a:pt x="745" y="81"/>
                    </a:lnTo>
                    <a:lnTo>
                      <a:pt x="746" y="81"/>
                    </a:lnTo>
                    <a:lnTo>
                      <a:pt x="745" y="80"/>
                    </a:lnTo>
                    <a:lnTo>
                      <a:pt x="745" y="79"/>
                    </a:lnTo>
                    <a:lnTo>
                      <a:pt x="746" y="79"/>
                    </a:lnTo>
                    <a:lnTo>
                      <a:pt x="749" y="79"/>
                    </a:lnTo>
                    <a:lnTo>
                      <a:pt x="750" y="77"/>
                    </a:lnTo>
                    <a:lnTo>
                      <a:pt x="751" y="76"/>
                    </a:lnTo>
                    <a:lnTo>
                      <a:pt x="752" y="75"/>
                    </a:lnTo>
                    <a:lnTo>
                      <a:pt x="751" y="75"/>
                    </a:lnTo>
                    <a:lnTo>
                      <a:pt x="749" y="75"/>
                    </a:lnTo>
                    <a:lnTo>
                      <a:pt x="748" y="75"/>
                    </a:lnTo>
                    <a:lnTo>
                      <a:pt x="748" y="74"/>
                    </a:lnTo>
                    <a:lnTo>
                      <a:pt x="748" y="73"/>
                    </a:lnTo>
                    <a:lnTo>
                      <a:pt x="749" y="72"/>
                    </a:lnTo>
                    <a:lnTo>
                      <a:pt x="751" y="70"/>
                    </a:lnTo>
                    <a:lnTo>
                      <a:pt x="752" y="70"/>
                    </a:lnTo>
                    <a:lnTo>
                      <a:pt x="753" y="69"/>
                    </a:lnTo>
                    <a:lnTo>
                      <a:pt x="753" y="68"/>
                    </a:lnTo>
                    <a:lnTo>
                      <a:pt x="753" y="67"/>
                    </a:lnTo>
                    <a:lnTo>
                      <a:pt x="755" y="66"/>
                    </a:lnTo>
                    <a:lnTo>
                      <a:pt x="756" y="66"/>
                    </a:lnTo>
                    <a:lnTo>
                      <a:pt x="756" y="70"/>
                    </a:lnTo>
                    <a:lnTo>
                      <a:pt x="756" y="72"/>
                    </a:lnTo>
                    <a:lnTo>
                      <a:pt x="755" y="73"/>
                    </a:lnTo>
                    <a:lnTo>
                      <a:pt x="756" y="72"/>
                    </a:lnTo>
                    <a:lnTo>
                      <a:pt x="757" y="70"/>
                    </a:lnTo>
                    <a:lnTo>
                      <a:pt x="758" y="69"/>
                    </a:lnTo>
                    <a:lnTo>
                      <a:pt x="758" y="68"/>
                    </a:lnTo>
                    <a:lnTo>
                      <a:pt x="759" y="69"/>
                    </a:lnTo>
                    <a:lnTo>
                      <a:pt x="762" y="75"/>
                    </a:lnTo>
                    <a:lnTo>
                      <a:pt x="763" y="74"/>
                    </a:lnTo>
                    <a:lnTo>
                      <a:pt x="762" y="73"/>
                    </a:lnTo>
                    <a:lnTo>
                      <a:pt x="762" y="72"/>
                    </a:lnTo>
                    <a:lnTo>
                      <a:pt x="763" y="72"/>
                    </a:lnTo>
                    <a:lnTo>
                      <a:pt x="763" y="70"/>
                    </a:lnTo>
                    <a:lnTo>
                      <a:pt x="764" y="69"/>
                    </a:lnTo>
                    <a:lnTo>
                      <a:pt x="764" y="68"/>
                    </a:lnTo>
                    <a:lnTo>
                      <a:pt x="763" y="68"/>
                    </a:lnTo>
                    <a:lnTo>
                      <a:pt x="763" y="67"/>
                    </a:lnTo>
                    <a:lnTo>
                      <a:pt x="764" y="67"/>
                    </a:lnTo>
                    <a:lnTo>
                      <a:pt x="765" y="68"/>
                    </a:lnTo>
                    <a:lnTo>
                      <a:pt x="765" y="66"/>
                    </a:lnTo>
                    <a:lnTo>
                      <a:pt x="765" y="65"/>
                    </a:lnTo>
                    <a:lnTo>
                      <a:pt x="765" y="63"/>
                    </a:lnTo>
                    <a:lnTo>
                      <a:pt x="766" y="63"/>
                    </a:lnTo>
                    <a:lnTo>
                      <a:pt x="767" y="65"/>
                    </a:lnTo>
                    <a:lnTo>
                      <a:pt x="770" y="65"/>
                    </a:lnTo>
                    <a:lnTo>
                      <a:pt x="770" y="66"/>
                    </a:lnTo>
                    <a:lnTo>
                      <a:pt x="768" y="67"/>
                    </a:lnTo>
                    <a:lnTo>
                      <a:pt x="767" y="68"/>
                    </a:lnTo>
                    <a:lnTo>
                      <a:pt x="768" y="68"/>
                    </a:lnTo>
                    <a:lnTo>
                      <a:pt x="770" y="68"/>
                    </a:lnTo>
                    <a:lnTo>
                      <a:pt x="771" y="68"/>
                    </a:lnTo>
                    <a:lnTo>
                      <a:pt x="772" y="68"/>
                    </a:lnTo>
                    <a:lnTo>
                      <a:pt x="772" y="67"/>
                    </a:lnTo>
                    <a:lnTo>
                      <a:pt x="772" y="66"/>
                    </a:lnTo>
                    <a:lnTo>
                      <a:pt x="772" y="65"/>
                    </a:lnTo>
                    <a:lnTo>
                      <a:pt x="773" y="65"/>
                    </a:lnTo>
                    <a:lnTo>
                      <a:pt x="773" y="63"/>
                    </a:lnTo>
                    <a:lnTo>
                      <a:pt x="772" y="63"/>
                    </a:lnTo>
                    <a:lnTo>
                      <a:pt x="773" y="59"/>
                    </a:lnTo>
                    <a:lnTo>
                      <a:pt x="773" y="58"/>
                    </a:lnTo>
                    <a:lnTo>
                      <a:pt x="773" y="56"/>
                    </a:lnTo>
                    <a:lnTo>
                      <a:pt x="773" y="55"/>
                    </a:lnTo>
                    <a:lnTo>
                      <a:pt x="772" y="54"/>
                    </a:lnTo>
                    <a:lnTo>
                      <a:pt x="771" y="53"/>
                    </a:lnTo>
                    <a:lnTo>
                      <a:pt x="772" y="52"/>
                    </a:lnTo>
                    <a:lnTo>
                      <a:pt x="771" y="52"/>
                    </a:lnTo>
                    <a:lnTo>
                      <a:pt x="771" y="49"/>
                    </a:lnTo>
                    <a:lnTo>
                      <a:pt x="771" y="48"/>
                    </a:lnTo>
                    <a:lnTo>
                      <a:pt x="771" y="47"/>
                    </a:lnTo>
                    <a:lnTo>
                      <a:pt x="771" y="46"/>
                    </a:lnTo>
                    <a:lnTo>
                      <a:pt x="771" y="45"/>
                    </a:lnTo>
                    <a:lnTo>
                      <a:pt x="772" y="45"/>
                    </a:lnTo>
                    <a:lnTo>
                      <a:pt x="772" y="44"/>
                    </a:lnTo>
                    <a:lnTo>
                      <a:pt x="773" y="44"/>
                    </a:lnTo>
                    <a:lnTo>
                      <a:pt x="774" y="44"/>
                    </a:lnTo>
                    <a:lnTo>
                      <a:pt x="774" y="46"/>
                    </a:lnTo>
                    <a:lnTo>
                      <a:pt x="775" y="46"/>
                    </a:lnTo>
                    <a:lnTo>
                      <a:pt x="777" y="46"/>
                    </a:lnTo>
                    <a:lnTo>
                      <a:pt x="779" y="47"/>
                    </a:lnTo>
                    <a:lnTo>
                      <a:pt x="779" y="48"/>
                    </a:lnTo>
                    <a:lnTo>
                      <a:pt x="779" y="47"/>
                    </a:lnTo>
                    <a:lnTo>
                      <a:pt x="780" y="47"/>
                    </a:lnTo>
                    <a:lnTo>
                      <a:pt x="781" y="46"/>
                    </a:lnTo>
                    <a:lnTo>
                      <a:pt x="781" y="47"/>
                    </a:lnTo>
                    <a:lnTo>
                      <a:pt x="780" y="49"/>
                    </a:lnTo>
                    <a:lnTo>
                      <a:pt x="780" y="51"/>
                    </a:lnTo>
                    <a:lnTo>
                      <a:pt x="780" y="52"/>
                    </a:lnTo>
                    <a:lnTo>
                      <a:pt x="779" y="52"/>
                    </a:lnTo>
                    <a:lnTo>
                      <a:pt x="778" y="52"/>
                    </a:lnTo>
                    <a:lnTo>
                      <a:pt x="778" y="51"/>
                    </a:lnTo>
                    <a:lnTo>
                      <a:pt x="777" y="51"/>
                    </a:lnTo>
                    <a:lnTo>
                      <a:pt x="777" y="52"/>
                    </a:lnTo>
                    <a:lnTo>
                      <a:pt x="777" y="53"/>
                    </a:lnTo>
                    <a:lnTo>
                      <a:pt x="777" y="54"/>
                    </a:lnTo>
                    <a:lnTo>
                      <a:pt x="778" y="61"/>
                    </a:lnTo>
                    <a:lnTo>
                      <a:pt x="779" y="62"/>
                    </a:lnTo>
                    <a:lnTo>
                      <a:pt x="779" y="65"/>
                    </a:lnTo>
                    <a:lnTo>
                      <a:pt x="775" y="72"/>
                    </a:lnTo>
                    <a:lnTo>
                      <a:pt x="777" y="74"/>
                    </a:lnTo>
                    <a:lnTo>
                      <a:pt x="777" y="73"/>
                    </a:lnTo>
                    <a:lnTo>
                      <a:pt x="780" y="63"/>
                    </a:lnTo>
                    <a:lnTo>
                      <a:pt x="780" y="61"/>
                    </a:lnTo>
                    <a:lnTo>
                      <a:pt x="780" y="58"/>
                    </a:lnTo>
                    <a:lnTo>
                      <a:pt x="781" y="56"/>
                    </a:lnTo>
                    <a:lnTo>
                      <a:pt x="782" y="56"/>
                    </a:lnTo>
                    <a:lnTo>
                      <a:pt x="782" y="59"/>
                    </a:lnTo>
                    <a:lnTo>
                      <a:pt x="782" y="60"/>
                    </a:lnTo>
                    <a:lnTo>
                      <a:pt x="782" y="61"/>
                    </a:lnTo>
                    <a:lnTo>
                      <a:pt x="785" y="61"/>
                    </a:lnTo>
                    <a:lnTo>
                      <a:pt x="786" y="60"/>
                    </a:lnTo>
                    <a:lnTo>
                      <a:pt x="786" y="59"/>
                    </a:lnTo>
                    <a:lnTo>
                      <a:pt x="787" y="59"/>
                    </a:lnTo>
                    <a:lnTo>
                      <a:pt x="787" y="60"/>
                    </a:lnTo>
                    <a:lnTo>
                      <a:pt x="788" y="60"/>
                    </a:lnTo>
                    <a:lnTo>
                      <a:pt x="789" y="60"/>
                    </a:lnTo>
                    <a:lnTo>
                      <a:pt x="789" y="59"/>
                    </a:lnTo>
                    <a:lnTo>
                      <a:pt x="791" y="60"/>
                    </a:lnTo>
                    <a:lnTo>
                      <a:pt x="791" y="61"/>
                    </a:lnTo>
                    <a:lnTo>
                      <a:pt x="789" y="61"/>
                    </a:lnTo>
                    <a:lnTo>
                      <a:pt x="788" y="62"/>
                    </a:lnTo>
                    <a:lnTo>
                      <a:pt x="789" y="65"/>
                    </a:lnTo>
                    <a:lnTo>
                      <a:pt x="789" y="66"/>
                    </a:lnTo>
                    <a:lnTo>
                      <a:pt x="791" y="66"/>
                    </a:lnTo>
                    <a:lnTo>
                      <a:pt x="791" y="67"/>
                    </a:lnTo>
                    <a:lnTo>
                      <a:pt x="789" y="68"/>
                    </a:lnTo>
                    <a:lnTo>
                      <a:pt x="789" y="69"/>
                    </a:lnTo>
                    <a:lnTo>
                      <a:pt x="791" y="70"/>
                    </a:lnTo>
                    <a:lnTo>
                      <a:pt x="792" y="70"/>
                    </a:lnTo>
                    <a:lnTo>
                      <a:pt x="794" y="72"/>
                    </a:lnTo>
                    <a:lnTo>
                      <a:pt x="795" y="73"/>
                    </a:lnTo>
                    <a:lnTo>
                      <a:pt x="796" y="73"/>
                    </a:lnTo>
                    <a:lnTo>
                      <a:pt x="796" y="69"/>
                    </a:lnTo>
                    <a:lnTo>
                      <a:pt x="795" y="68"/>
                    </a:lnTo>
                    <a:lnTo>
                      <a:pt x="795" y="67"/>
                    </a:lnTo>
                    <a:lnTo>
                      <a:pt x="795" y="66"/>
                    </a:lnTo>
                    <a:lnTo>
                      <a:pt x="796" y="65"/>
                    </a:lnTo>
                    <a:lnTo>
                      <a:pt x="796" y="63"/>
                    </a:lnTo>
                    <a:lnTo>
                      <a:pt x="799" y="63"/>
                    </a:lnTo>
                    <a:lnTo>
                      <a:pt x="799" y="65"/>
                    </a:lnTo>
                    <a:lnTo>
                      <a:pt x="800" y="65"/>
                    </a:lnTo>
                    <a:lnTo>
                      <a:pt x="800" y="66"/>
                    </a:lnTo>
                    <a:lnTo>
                      <a:pt x="801" y="66"/>
                    </a:lnTo>
                    <a:lnTo>
                      <a:pt x="801" y="65"/>
                    </a:lnTo>
                    <a:lnTo>
                      <a:pt x="801" y="63"/>
                    </a:lnTo>
                    <a:lnTo>
                      <a:pt x="802" y="63"/>
                    </a:lnTo>
                    <a:lnTo>
                      <a:pt x="803" y="63"/>
                    </a:lnTo>
                    <a:lnTo>
                      <a:pt x="805" y="63"/>
                    </a:lnTo>
                    <a:lnTo>
                      <a:pt x="805" y="62"/>
                    </a:lnTo>
                    <a:lnTo>
                      <a:pt x="805" y="61"/>
                    </a:lnTo>
                    <a:lnTo>
                      <a:pt x="803" y="60"/>
                    </a:lnTo>
                    <a:lnTo>
                      <a:pt x="803" y="59"/>
                    </a:lnTo>
                    <a:lnTo>
                      <a:pt x="802" y="59"/>
                    </a:lnTo>
                    <a:lnTo>
                      <a:pt x="802" y="58"/>
                    </a:lnTo>
                    <a:lnTo>
                      <a:pt x="802" y="56"/>
                    </a:lnTo>
                    <a:lnTo>
                      <a:pt x="801" y="56"/>
                    </a:lnTo>
                    <a:lnTo>
                      <a:pt x="801" y="55"/>
                    </a:lnTo>
                    <a:lnTo>
                      <a:pt x="800" y="55"/>
                    </a:lnTo>
                    <a:lnTo>
                      <a:pt x="800" y="54"/>
                    </a:lnTo>
                    <a:lnTo>
                      <a:pt x="801" y="53"/>
                    </a:lnTo>
                    <a:lnTo>
                      <a:pt x="802" y="53"/>
                    </a:lnTo>
                    <a:lnTo>
                      <a:pt x="802" y="52"/>
                    </a:lnTo>
                    <a:lnTo>
                      <a:pt x="803" y="52"/>
                    </a:lnTo>
                    <a:lnTo>
                      <a:pt x="806" y="51"/>
                    </a:lnTo>
                    <a:lnTo>
                      <a:pt x="806" y="49"/>
                    </a:lnTo>
                    <a:lnTo>
                      <a:pt x="805" y="48"/>
                    </a:lnTo>
                    <a:lnTo>
                      <a:pt x="806" y="48"/>
                    </a:lnTo>
                    <a:lnTo>
                      <a:pt x="806" y="47"/>
                    </a:lnTo>
                    <a:lnTo>
                      <a:pt x="806" y="46"/>
                    </a:lnTo>
                    <a:lnTo>
                      <a:pt x="805" y="45"/>
                    </a:lnTo>
                    <a:lnTo>
                      <a:pt x="805" y="44"/>
                    </a:lnTo>
                    <a:lnTo>
                      <a:pt x="805" y="42"/>
                    </a:lnTo>
                    <a:lnTo>
                      <a:pt x="806" y="41"/>
                    </a:lnTo>
                    <a:lnTo>
                      <a:pt x="808" y="41"/>
                    </a:lnTo>
                    <a:lnTo>
                      <a:pt x="810" y="39"/>
                    </a:lnTo>
                    <a:lnTo>
                      <a:pt x="810" y="38"/>
                    </a:lnTo>
                    <a:lnTo>
                      <a:pt x="810" y="37"/>
                    </a:lnTo>
                    <a:lnTo>
                      <a:pt x="810" y="35"/>
                    </a:lnTo>
                    <a:lnTo>
                      <a:pt x="810" y="34"/>
                    </a:lnTo>
                    <a:lnTo>
                      <a:pt x="809" y="32"/>
                    </a:lnTo>
                    <a:lnTo>
                      <a:pt x="807" y="31"/>
                    </a:lnTo>
                    <a:lnTo>
                      <a:pt x="800" y="31"/>
                    </a:lnTo>
                    <a:lnTo>
                      <a:pt x="799" y="31"/>
                    </a:lnTo>
                    <a:lnTo>
                      <a:pt x="799" y="30"/>
                    </a:lnTo>
                    <a:lnTo>
                      <a:pt x="799" y="28"/>
                    </a:lnTo>
                    <a:lnTo>
                      <a:pt x="798" y="27"/>
                    </a:lnTo>
                    <a:lnTo>
                      <a:pt x="798" y="26"/>
                    </a:lnTo>
                    <a:lnTo>
                      <a:pt x="798" y="25"/>
                    </a:lnTo>
                    <a:lnTo>
                      <a:pt x="799" y="25"/>
                    </a:lnTo>
                    <a:lnTo>
                      <a:pt x="800" y="27"/>
                    </a:lnTo>
                    <a:lnTo>
                      <a:pt x="801" y="27"/>
                    </a:lnTo>
                    <a:lnTo>
                      <a:pt x="802" y="27"/>
                    </a:lnTo>
                    <a:lnTo>
                      <a:pt x="802" y="26"/>
                    </a:lnTo>
                    <a:lnTo>
                      <a:pt x="801" y="25"/>
                    </a:lnTo>
                    <a:lnTo>
                      <a:pt x="802" y="24"/>
                    </a:lnTo>
                    <a:lnTo>
                      <a:pt x="805" y="27"/>
                    </a:lnTo>
                    <a:lnTo>
                      <a:pt x="806" y="26"/>
                    </a:lnTo>
                    <a:lnTo>
                      <a:pt x="806" y="25"/>
                    </a:lnTo>
                    <a:lnTo>
                      <a:pt x="806" y="24"/>
                    </a:lnTo>
                    <a:lnTo>
                      <a:pt x="806" y="23"/>
                    </a:lnTo>
                    <a:lnTo>
                      <a:pt x="805" y="23"/>
                    </a:lnTo>
                    <a:lnTo>
                      <a:pt x="801" y="20"/>
                    </a:lnTo>
                    <a:lnTo>
                      <a:pt x="800" y="19"/>
                    </a:lnTo>
                    <a:lnTo>
                      <a:pt x="801" y="19"/>
                    </a:lnTo>
                    <a:lnTo>
                      <a:pt x="803" y="20"/>
                    </a:lnTo>
                    <a:lnTo>
                      <a:pt x="803" y="19"/>
                    </a:lnTo>
                    <a:lnTo>
                      <a:pt x="803" y="18"/>
                    </a:lnTo>
                    <a:lnTo>
                      <a:pt x="805" y="18"/>
                    </a:lnTo>
                    <a:lnTo>
                      <a:pt x="805" y="17"/>
                    </a:lnTo>
                    <a:lnTo>
                      <a:pt x="806" y="17"/>
                    </a:lnTo>
                    <a:lnTo>
                      <a:pt x="806" y="18"/>
                    </a:lnTo>
                    <a:lnTo>
                      <a:pt x="806" y="19"/>
                    </a:lnTo>
                    <a:lnTo>
                      <a:pt x="808" y="19"/>
                    </a:lnTo>
                    <a:lnTo>
                      <a:pt x="809" y="19"/>
                    </a:lnTo>
                    <a:lnTo>
                      <a:pt x="809" y="20"/>
                    </a:lnTo>
                    <a:lnTo>
                      <a:pt x="808" y="21"/>
                    </a:lnTo>
                    <a:lnTo>
                      <a:pt x="809" y="21"/>
                    </a:lnTo>
                    <a:lnTo>
                      <a:pt x="810" y="21"/>
                    </a:lnTo>
                    <a:lnTo>
                      <a:pt x="810" y="23"/>
                    </a:lnTo>
                    <a:lnTo>
                      <a:pt x="809" y="23"/>
                    </a:lnTo>
                    <a:lnTo>
                      <a:pt x="808" y="24"/>
                    </a:lnTo>
                    <a:lnTo>
                      <a:pt x="808" y="25"/>
                    </a:lnTo>
                    <a:lnTo>
                      <a:pt x="807" y="26"/>
                    </a:lnTo>
                    <a:lnTo>
                      <a:pt x="808" y="26"/>
                    </a:lnTo>
                    <a:lnTo>
                      <a:pt x="809" y="25"/>
                    </a:lnTo>
                    <a:lnTo>
                      <a:pt x="812" y="23"/>
                    </a:lnTo>
                    <a:lnTo>
                      <a:pt x="813" y="21"/>
                    </a:lnTo>
                    <a:lnTo>
                      <a:pt x="815" y="21"/>
                    </a:lnTo>
                    <a:lnTo>
                      <a:pt x="814" y="23"/>
                    </a:lnTo>
                    <a:lnTo>
                      <a:pt x="812" y="24"/>
                    </a:lnTo>
                    <a:lnTo>
                      <a:pt x="812" y="25"/>
                    </a:lnTo>
                    <a:lnTo>
                      <a:pt x="813" y="25"/>
                    </a:lnTo>
                    <a:lnTo>
                      <a:pt x="815" y="26"/>
                    </a:lnTo>
                    <a:lnTo>
                      <a:pt x="815" y="27"/>
                    </a:lnTo>
                    <a:lnTo>
                      <a:pt x="814" y="27"/>
                    </a:lnTo>
                    <a:lnTo>
                      <a:pt x="812" y="28"/>
                    </a:lnTo>
                    <a:lnTo>
                      <a:pt x="812" y="30"/>
                    </a:lnTo>
                    <a:lnTo>
                      <a:pt x="812" y="31"/>
                    </a:lnTo>
                    <a:lnTo>
                      <a:pt x="814" y="30"/>
                    </a:lnTo>
                    <a:lnTo>
                      <a:pt x="815" y="31"/>
                    </a:lnTo>
                    <a:lnTo>
                      <a:pt x="815" y="32"/>
                    </a:lnTo>
                    <a:lnTo>
                      <a:pt x="813" y="33"/>
                    </a:lnTo>
                    <a:lnTo>
                      <a:pt x="813" y="34"/>
                    </a:lnTo>
                    <a:lnTo>
                      <a:pt x="814" y="34"/>
                    </a:lnTo>
                    <a:lnTo>
                      <a:pt x="814" y="37"/>
                    </a:lnTo>
                    <a:lnTo>
                      <a:pt x="815" y="38"/>
                    </a:lnTo>
                    <a:lnTo>
                      <a:pt x="817" y="38"/>
                    </a:lnTo>
                    <a:lnTo>
                      <a:pt x="817" y="39"/>
                    </a:lnTo>
                    <a:lnTo>
                      <a:pt x="816" y="39"/>
                    </a:lnTo>
                    <a:lnTo>
                      <a:pt x="816" y="40"/>
                    </a:lnTo>
                    <a:lnTo>
                      <a:pt x="817" y="40"/>
                    </a:lnTo>
                    <a:lnTo>
                      <a:pt x="819" y="40"/>
                    </a:lnTo>
                    <a:lnTo>
                      <a:pt x="820" y="39"/>
                    </a:lnTo>
                    <a:lnTo>
                      <a:pt x="821" y="39"/>
                    </a:lnTo>
                    <a:lnTo>
                      <a:pt x="821" y="41"/>
                    </a:lnTo>
                    <a:lnTo>
                      <a:pt x="822" y="41"/>
                    </a:lnTo>
                    <a:lnTo>
                      <a:pt x="822" y="40"/>
                    </a:lnTo>
                    <a:lnTo>
                      <a:pt x="822" y="39"/>
                    </a:lnTo>
                    <a:lnTo>
                      <a:pt x="822" y="38"/>
                    </a:lnTo>
                    <a:lnTo>
                      <a:pt x="824" y="38"/>
                    </a:lnTo>
                    <a:lnTo>
                      <a:pt x="824" y="37"/>
                    </a:lnTo>
                    <a:lnTo>
                      <a:pt x="824" y="35"/>
                    </a:lnTo>
                    <a:lnTo>
                      <a:pt x="823" y="34"/>
                    </a:lnTo>
                    <a:lnTo>
                      <a:pt x="822" y="34"/>
                    </a:lnTo>
                    <a:lnTo>
                      <a:pt x="821" y="34"/>
                    </a:lnTo>
                    <a:lnTo>
                      <a:pt x="821" y="33"/>
                    </a:lnTo>
                    <a:lnTo>
                      <a:pt x="822" y="32"/>
                    </a:lnTo>
                    <a:lnTo>
                      <a:pt x="822" y="31"/>
                    </a:lnTo>
                    <a:lnTo>
                      <a:pt x="823" y="30"/>
                    </a:lnTo>
                    <a:lnTo>
                      <a:pt x="824" y="30"/>
                    </a:lnTo>
                    <a:lnTo>
                      <a:pt x="824" y="28"/>
                    </a:lnTo>
                    <a:lnTo>
                      <a:pt x="823" y="28"/>
                    </a:lnTo>
                    <a:lnTo>
                      <a:pt x="824" y="27"/>
                    </a:lnTo>
                    <a:lnTo>
                      <a:pt x="826" y="27"/>
                    </a:lnTo>
                    <a:lnTo>
                      <a:pt x="827" y="27"/>
                    </a:lnTo>
                    <a:lnTo>
                      <a:pt x="828" y="24"/>
                    </a:lnTo>
                    <a:lnTo>
                      <a:pt x="829" y="23"/>
                    </a:lnTo>
                    <a:lnTo>
                      <a:pt x="830" y="21"/>
                    </a:lnTo>
                    <a:lnTo>
                      <a:pt x="831" y="23"/>
                    </a:lnTo>
                    <a:lnTo>
                      <a:pt x="832" y="23"/>
                    </a:lnTo>
                    <a:lnTo>
                      <a:pt x="835" y="21"/>
                    </a:lnTo>
                    <a:lnTo>
                      <a:pt x="835" y="20"/>
                    </a:lnTo>
                    <a:lnTo>
                      <a:pt x="836" y="18"/>
                    </a:lnTo>
                    <a:lnTo>
                      <a:pt x="837" y="18"/>
                    </a:lnTo>
                    <a:lnTo>
                      <a:pt x="838" y="18"/>
                    </a:lnTo>
                    <a:lnTo>
                      <a:pt x="839" y="18"/>
                    </a:lnTo>
                    <a:lnTo>
                      <a:pt x="839" y="19"/>
                    </a:lnTo>
                    <a:lnTo>
                      <a:pt x="838" y="19"/>
                    </a:lnTo>
                    <a:lnTo>
                      <a:pt x="837" y="20"/>
                    </a:lnTo>
                    <a:lnTo>
                      <a:pt x="837" y="21"/>
                    </a:lnTo>
                    <a:lnTo>
                      <a:pt x="836" y="21"/>
                    </a:lnTo>
                    <a:lnTo>
                      <a:pt x="836" y="23"/>
                    </a:lnTo>
                    <a:lnTo>
                      <a:pt x="835" y="23"/>
                    </a:lnTo>
                    <a:lnTo>
                      <a:pt x="835" y="25"/>
                    </a:lnTo>
                    <a:lnTo>
                      <a:pt x="832" y="27"/>
                    </a:lnTo>
                    <a:lnTo>
                      <a:pt x="832" y="28"/>
                    </a:lnTo>
                    <a:lnTo>
                      <a:pt x="832" y="30"/>
                    </a:lnTo>
                    <a:lnTo>
                      <a:pt x="835" y="30"/>
                    </a:lnTo>
                    <a:lnTo>
                      <a:pt x="837" y="28"/>
                    </a:lnTo>
                    <a:lnTo>
                      <a:pt x="835" y="32"/>
                    </a:lnTo>
                    <a:lnTo>
                      <a:pt x="836" y="32"/>
                    </a:lnTo>
                    <a:lnTo>
                      <a:pt x="837" y="33"/>
                    </a:lnTo>
                    <a:lnTo>
                      <a:pt x="837" y="34"/>
                    </a:lnTo>
                    <a:lnTo>
                      <a:pt x="838" y="33"/>
                    </a:lnTo>
                    <a:lnTo>
                      <a:pt x="839" y="33"/>
                    </a:lnTo>
                    <a:lnTo>
                      <a:pt x="841" y="33"/>
                    </a:lnTo>
                    <a:lnTo>
                      <a:pt x="841" y="34"/>
                    </a:lnTo>
                    <a:lnTo>
                      <a:pt x="841" y="37"/>
                    </a:lnTo>
                    <a:lnTo>
                      <a:pt x="842" y="38"/>
                    </a:lnTo>
                    <a:lnTo>
                      <a:pt x="842" y="39"/>
                    </a:lnTo>
                    <a:lnTo>
                      <a:pt x="843" y="39"/>
                    </a:lnTo>
                    <a:lnTo>
                      <a:pt x="844" y="40"/>
                    </a:lnTo>
                    <a:lnTo>
                      <a:pt x="844" y="38"/>
                    </a:lnTo>
                    <a:lnTo>
                      <a:pt x="844" y="37"/>
                    </a:lnTo>
                    <a:lnTo>
                      <a:pt x="844" y="35"/>
                    </a:lnTo>
                    <a:lnTo>
                      <a:pt x="845" y="34"/>
                    </a:lnTo>
                    <a:lnTo>
                      <a:pt x="846" y="34"/>
                    </a:lnTo>
                    <a:lnTo>
                      <a:pt x="846" y="33"/>
                    </a:lnTo>
                    <a:lnTo>
                      <a:pt x="846" y="32"/>
                    </a:lnTo>
                    <a:lnTo>
                      <a:pt x="846" y="31"/>
                    </a:lnTo>
                    <a:lnTo>
                      <a:pt x="846" y="30"/>
                    </a:lnTo>
                    <a:lnTo>
                      <a:pt x="846" y="28"/>
                    </a:lnTo>
                    <a:lnTo>
                      <a:pt x="846" y="27"/>
                    </a:lnTo>
                    <a:lnTo>
                      <a:pt x="848" y="28"/>
                    </a:lnTo>
                    <a:lnTo>
                      <a:pt x="849" y="28"/>
                    </a:lnTo>
                    <a:lnTo>
                      <a:pt x="849" y="30"/>
                    </a:lnTo>
                    <a:lnTo>
                      <a:pt x="849" y="31"/>
                    </a:lnTo>
                    <a:lnTo>
                      <a:pt x="850" y="31"/>
                    </a:lnTo>
                    <a:lnTo>
                      <a:pt x="851" y="31"/>
                    </a:lnTo>
                    <a:lnTo>
                      <a:pt x="851" y="28"/>
                    </a:lnTo>
                    <a:lnTo>
                      <a:pt x="852" y="27"/>
                    </a:lnTo>
                    <a:lnTo>
                      <a:pt x="852" y="26"/>
                    </a:lnTo>
                    <a:lnTo>
                      <a:pt x="852" y="25"/>
                    </a:lnTo>
                    <a:lnTo>
                      <a:pt x="853" y="24"/>
                    </a:lnTo>
                    <a:lnTo>
                      <a:pt x="853" y="23"/>
                    </a:lnTo>
                    <a:lnTo>
                      <a:pt x="852" y="23"/>
                    </a:lnTo>
                    <a:lnTo>
                      <a:pt x="852" y="24"/>
                    </a:lnTo>
                    <a:lnTo>
                      <a:pt x="851" y="25"/>
                    </a:lnTo>
                    <a:lnTo>
                      <a:pt x="850" y="24"/>
                    </a:lnTo>
                    <a:lnTo>
                      <a:pt x="850" y="23"/>
                    </a:lnTo>
                    <a:lnTo>
                      <a:pt x="850" y="21"/>
                    </a:lnTo>
                    <a:lnTo>
                      <a:pt x="851" y="21"/>
                    </a:lnTo>
                    <a:lnTo>
                      <a:pt x="852" y="21"/>
                    </a:lnTo>
                    <a:lnTo>
                      <a:pt x="853" y="21"/>
                    </a:lnTo>
                    <a:lnTo>
                      <a:pt x="853" y="20"/>
                    </a:lnTo>
                    <a:lnTo>
                      <a:pt x="853" y="19"/>
                    </a:lnTo>
                    <a:lnTo>
                      <a:pt x="855" y="20"/>
                    </a:lnTo>
                    <a:lnTo>
                      <a:pt x="856" y="20"/>
                    </a:lnTo>
                    <a:lnTo>
                      <a:pt x="856" y="19"/>
                    </a:lnTo>
                    <a:lnTo>
                      <a:pt x="858" y="20"/>
                    </a:lnTo>
                    <a:lnTo>
                      <a:pt x="859" y="20"/>
                    </a:lnTo>
                    <a:lnTo>
                      <a:pt x="860" y="19"/>
                    </a:lnTo>
                    <a:lnTo>
                      <a:pt x="858" y="19"/>
                    </a:lnTo>
                    <a:lnTo>
                      <a:pt x="858" y="18"/>
                    </a:lnTo>
                    <a:lnTo>
                      <a:pt x="857" y="18"/>
                    </a:lnTo>
                    <a:lnTo>
                      <a:pt x="858" y="18"/>
                    </a:lnTo>
                    <a:lnTo>
                      <a:pt x="859" y="18"/>
                    </a:lnTo>
                    <a:lnTo>
                      <a:pt x="860" y="18"/>
                    </a:lnTo>
                    <a:lnTo>
                      <a:pt x="860" y="17"/>
                    </a:lnTo>
                    <a:lnTo>
                      <a:pt x="859" y="17"/>
                    </a:lnTo>
                    <a:lnTo>
                      <a:pt x="858" y="17"/>
                    </a:lnTo>
                    <a:lnTo>
                      <a:pt x="857" y="16"/>
                    </a:lnTo>
                    <a:lnTo>
                      <a:pt x="856" y="14"/>
                    </a:lnTo>
                    <a:lnTo>
                      <a:pt x="856" y="13"/>
                    </a:lnTo>
                    <a:lnTo>
                      <a:pt x="856" y="12"/>
                    </a:lnTo>
                    <a:lnTo>
                      <a:pt x="855" y="11"/>
                    </a:lnTo>
                    <a:lnTo>
                      <a:pt x="853" y="11"/>
                    </a:lnTo>
                    <a:lnTo>
                      <a:pt x="853" y="7"/>
                    </a:lnTo>
                    <a:lnTo>
                      <a:pt x="852" y="6"/>
                    </a:lnTo>
                    <a:lnTo>
                      <a:pt x="853" y="6"/>
                    </a:lnTo>
                    <a:lnTo>
                      <a:pt x="855" y="6"/>
                    </a:lnTo>
                    <a:lnTo>
                      <a:pt x="856" y="5"/>
                    </a:lnTo>
                    <a:lnTo>
                      <a:pt x="857" y="4"/>
                    </a:lnTo>
                    <a:lnTo>
                      <a:pt x="858" y="5"/>
                    </a:lnTo>
                    <a:lnTo>
                      <a:pt x="858" y="6"/>
                    </a:lnTo>
                    <a:lnTo>
                      <a:pt x="858" y="7"/>
                    </a:lnTo>
                    <a:lnTo>
                      <a:pt x="859" y="9"/>
                    </a:lnTo>
                    <a:lnTo>
                      <a:pt x="859" y="7"/>
                    </a:lnTo>
                    <a:lnTo>
                      <a:pt x="860" y="6"/>
                    </a:lnTo>
                    <a:lnTo>
                      <a:pt x="862" y="6"/>
                    </a:lnTo>
                    <a:lnTo>
                      <a:pt x="860" y="5"/>
                    </a:lnTo>
                    <a:lnTo>
                      <a:pt x="859" y="4"/>
                    </a:lnTo>
                    <a:lnTo>
                      <a:pt x="859" y="3"/>
                    </a:lnTo>
                    <a:lnTo>
                      <a:pt x="860" y="3"/>
                    </a:lnTo>
                    <a:lnTo>
                      <a:pt x="862" y="3"/>
                    </a:lnTo>
                    <a:lnTo>
                      <a:pt x="863" y="3"/>
                    </a:lnTo>
                    <a:lnTo>
                      <a:pt x="864" y="4"/>
                    </a:lnTo>
                    <a:lnTo>
                      <a:pt x="865" y="3"/>
                    </a:lnTo>
                    <a:lnTo>
                      <a:pt x="864" y="3"/>
                    </a:lnTo>
                    <a:lnTo>
                      <a:pt x="864" y="2"/>
                    </a:lnTo>
                    <a:lnTo>
                      <a:pt x="865" y="2"/>
                    </a:lnTo>
                    <a:lnTo>
                      <a:pt x="866" y="0"/>
                    </a:lnTo>
                    <a:lnTo>
                      <a:pt x="869" y="3"/>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1" name="Freeform 22">
                <a:extLst>
                  <a:ext uri="{FF2B5EF4-FFF2-40B4-BE49-F238E27FC236}">
                    <a16:creationId xmlns:a16="http://schemas.microsoft.com/office/drawing/2014/main" id="{009E4E67-F9BA-4626-9A88-7781D38301F0}"/>
                  </a:ext>
                </a:extLst>
              </p:cNvPr>
              <p:cNvSpPr>
                <a:spLocks noEditPoints="1"/>
              </p:cNvSpPr>
              <p:nvPr/>
            </p:nvSpPr>
            <p:spPr bwMode="auto">
              <a:xfrm>
                <a:off x="6530223" y="4383121"/>
                <a:ext cx="1309688" cy="1062037"/>
              </a:xfrm>
              <a:custGeom>
                <a:avLst/>
                <a:gdLst>
                  <a:gd name="T0" fmla="*/ 556 w 825"/>
                  <a:gd name="T1" fmla="*/ 522 h 669"/>
                  <a:gd name="T2" fmla="*/ 541 w 825"/>
                  <a:gd name="T3" fmla="*/ 549 h 669"/>
                  <a:gd name="T4" fmla="*/ 532 w 825"/>
                  <a:gd name="T5" fmla="*/ 578 h 669"/>
                  <a:gd name="T6" fmla="*/ 519 w 825"/>
                  <a:gd name="T7" fmla="*/ 610 h 669"/>
                  <a:gd name="T8" fmla="*/ 513 w 825"/>
                  <a:gd name="T9" fmla="*/ 636 h 669"/>
                  <a:gd name="T10" fmla="*/ 511 w 825"/>
                  <a:gd name="T11" fmla="*/ 652 h 669"/>
                  <a:gd name="T12" fmla="*/ 408 w 825"/>
                  <a:gd name="T13" fmla="*/ 602 h 669"/>
                  <a:gd name="T14" fmla="*/ 409 w 825"/>
                  <a:gd name="T15" fmla="*/ 568 h 669"/>
                  <a:gd name="T16" fmla="*/ 400 w 825"/>
                  <a:gd name="T17" fmla="*/ 544 h 669"/>
                  <a:gd name="T18" fmla="*/ 368 w 825"/>
                  <a:gd name="T19" fmla="*/ 545 h 669"/>
                  <a:gd name="T20" fmla="*/ 354 w 825"/>
                  <a:gd name="T21" fmla="*/ 553 h 669"/>
                  <a:gd name="T22" fmla="*/ 338 w 825"/>
                  <a:gd name="T23" fmla="*/ 544 h 669"/>
                  <a:gd name="T24" fmla="*/ 311 w 825"/>
                  <a:gd name="T25" fmla="*/ 538 h 669"/>
                  <a:gd name="T26" fmla="*/ 284 w 825"/>
                  <a:gd name="T27" fmla="*/ 529 h 669"/>
                  <a:gd name="T28" fmla="*/ 226 w 825"/>
                  <a:gd name="T29" fmla="*/ 526 h 669"/>
                  <a:gd name="T30" fmla="*/ 207 w 825"/>
                  <a:gd name="T31" fmla="*/ 530 h 669"/>
                  <a:gd name="T32" fmla="*/ 174 w 825"/>
                  <a:gd name="T33" fmla="*/ 490 h 669"/>
                  <a:gd name="T34" fmla="*/ 150 w 825"/>
                  <a:gd name="T35" fmla="*/ 465 h 669"/>
                  <a:gd name="T36" fmla="*/ 138 w 825"/>
                  <a:gd name="T37" fmla="*/ 433 h 669"/>
                  <a:gd name="T38" fmla="*/ 113 w 825"/>
                  <a:gd name="T39" fmla="*/ 419 h 669"/>
                  <a:gd name="T40" fmla="*/ 96 w 825"/>
                  <a:gd name="T41" fmla="*/ 423 h 669"/>
                  <a:gd name="T42" fmla="*/ 86 w 825"/>
                  <a:gd name="T43" fmla="*/ 412 h 669"/>
                  <a:gd name="T44" fmla="*/ 73 w 825"/>
                  <a:gd name="T45" fmla="*/ 382 h 669"/>
                  <a:gd name="T46" fmla="*/ 41 w 825"/>
                  <a:gd name="T47" fmla="*/ 375 h 669"/>
                  <a:gd name="T48" fmla="*/ 16 w 825"/>
                  <a:gd name="T49" fmla="*/ 370 h 669"/>
                  <a:gd name="T50" fmla="*/ 13 w 825"/>
                  <a:gd name="T51" fmla="*/ 137 h 669"/>
                  <a:gd name="T52" fmla="*/ 451 w 825"/>
                  <a:gd name="T53" fmla="*/ 35 h 669"/>
                  <a:gd name="T54" fmla="*/ 546 w 825"/>
                  <a:gd name="T55" fmla="*/ 28 h 669"/>
                  <a:gd name="T56" fmla="*/ 586 w 825"/>
                  <a:gd name="T57" fmla="*/ 23 h 669"/>
                  <a:gd name="T58" fmla="*/ 636 w 825"/>
                  <a:gd name="T59" fmla="*/ 33 h 669"/>
                  <a:gd name="T60" fmla="*/ 667 w 825"/>
                  <a:gd name="T61" fmla="*/ 52 h 669"/>
                  <a:gd name="T62" fmla="*/ 681 w 825"/>
                  <a:gd name="T63" fmla="*/ 74 h 669"/>
                  <a:gd name="T64" fmla="*/ 703 w 825"/>
                  <a:gd name="T65" fmla="*/ 63 h 669"/>
                  <a:gd name="T66" fmla="*/ 721 w 825"/>
                  <a:gd name="T67" fmla="*/ 58 h 669"/>
                  <a:gd name="T68" fmla="*/ 725 w 825"/>
                  <a:gd name="T69" fmla="*/ 34 h 669"/>
                  <a:gd name="T70" fmla="*/ 759 w 825"/>
                  <a:gd name="T71" fmla="*/ 24 h 669"/>
                  <a:gd name="T72" fmla="*/ 786 w 825"/>
                  <a:gd name="T73" fmla="*/ 32 h 669"/>
                  <a:gd name="T74" fmla="*/ 823 w 825"/>
                  <a:gd name="T75" fmla="*/ 25 h 669"/>
                  <a:gd name="T76" fmla="*/ 818 w 825"/>
                  <a:gd name="T77" fmla="*/ 77 h 669"/>
                  <a:gd name="T78" fmla="*/ 796 w 825"/>
                  <a:gd name="T79" fmla="*/ 117 h 669"/>
                  <a:gd name="T80" fmla="*/ 782 w 825"/>
                  <a:gd name="T81" fmla="*/ 153 h 669"/>
                  <a:gd name="T82" fmla="*/ 761 w 825"/>
                  <a:gd name="T83" fmla="*/ 214 h 669"/>
                  <a:gd name="T84" fmla="*/ 753 w 825"/>
                  <a:gd name="T85" fmla="*/ 241 h 669"/>
                  <a:gd name="T86" fmla="*/ 733 w 825"/>
                  <a:gd name="T87" fmla="*/ 277 h 669"/>
                  <a:gd name="T88" fmla="*/ 715 w 825"/>
                  <a:gd name="T89" fmla="*/ 309 h 669"/>
                  <a:gd name="T90" fmla="*/ 692 w 825"/>
                  <a:gd name="T91" fmla="*/ 333 h 669"/>
                  <a:gd name="T92" fmla="*/ 684 w 825"/>
                  <a:gd name="T93" fmla="*/ 343 h 669"/>
                  <a:gd name="T94" fmla="*/ 653 w 825"/>
                  <a:gd name="T95" fmla="*/ 364 h 669"/>
                  <a:gd name="T96" fmla="*/ 637 w 825"/>
                  <a:gd name="T97" fmla="*/ 377 h 669"/>
                  <a:gd name="T98" fmla="*/ 632 w 825"/>
                  <a:gd name="T99" fmla="*/ 390 h 669"/>
                  <a:gd name="T100" fmla="*/ 626 w 825"/>
                  <a:gd name="T101" fmla="*/ 398 h 669"/>
                  <a:gd name="T102" fmla="*/ 624 w 825"/>
                  <a:gd name="T103" fmla="*/ 416 h 669"/>
                  <a:gd name="T104" fmla="*/ 615 w 825"/>
                  <a:gd name="T105" fmla="*/ 426 h 669"/>
                  <a:gd name="T106" fmla="*/ 594 w 825"/>
                  <a:gd name="T107" fmla="*/ 453 h 669"/>
                  <a:gd name="T108" fmla="*/ 585 w 825"/>
                  <a:gd name="T109" fmla="*/ 477 h 669"/>
                  <a:gd name="T110" fmla="*/ 585 w 825"/>
                  <a:gd name="T111" fmla="*/ 496 h 669"/>
                  <a:gd name="T112" fmla="*/ 496 w 825"/>
                  <a:gd name="T113" fmla="*/ 507 h 669"/>
                  <a:gd name="T114" fmla="*/ 463 w 825"/>
                  <a:gd name="T115" fmla="*/ 500 h 669"/>
                  <a:gd name="T116" fmla="*/ 459 w 825"/>
                  <a:gd name="T117" fmla="*/ 531 h 669"/>
                  <a:gd name="T118" fmla="*/ 473 w 825"/>
                  <a:gd name="T119" fmla="*/ 543 h 669"/>
                  <a:gd name="T120" fmla="*/ 479 w 825"/>
                  <a:gd name="T121" fmla="*/ 515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5" h="669">
                    <a:moveTo>
                      <a:pt x="576" y="501"/>
                    </a:moveTo>
                    <a:lnTo>
                      <a:pt x="575" y="501"/>
                    </a:lnTo>
                    <a:lnTo>
                      <a:pt x="572" y="502"/>
                    </a:lnTo>
                    <a:lnTo>
                      <a:pt x="570" y="504"/>
                    </a:lnTo>
                    <a:lnTo>
                      <a:pt x="569" y="504"/>
                    </a:lnTo>
                    <a:lnTo>
                      <a:pt x="567" y="505"/>
                    </a:lnTo>
                    <a:lnTo>
                      <a:pt x="565" y="507"/>
                    </a:lnTo>
                    <a:lnTo>
                      <a:pt x="565" y="508"/>
                    </a:lnTo>
                    <a:lnTo>
                      <a:pt x="564" y="509"/>
                    </a:lnTo>
                    <a:lnTo>
                      <a:pt x="562" y="511"/>
                    </a:lnTo>
                    <a:lnTo>
                      <a:pt x="562" y="512"/>
                    </a:lnTo>
                    <a:lnTo>
                      <a:pt x="561" y="514"/>
                    </a:lnTo>
                    <a:lnTo>
                      <a:pt x="561" y="515"/>
                    </a:lnTo>
                    <a:lnTo>
                      <a:pt x="561" y="516"/>
                    </a:lnTo>
                    <a:lnTo>
                      <a:pt x="561" y="517"/>
                    </a:lnTo>
                    <a:lnTo>
                      <a:pt x="558" y="518"/>
                    </a:lnTo>
                    <a:lnTo>
                      <a:pt x="558" y="519"/>
                    </a:lnTo>
                    <a:lnTo>
                      <a:pt x="557" y="521"/>
                    </a:lnTo>
                    <a:lnTo>
                      <a:pt x="557" y="522"/>
                    </a:lnTo>
                    <a:lnTo>
                      <a:pt x="556" y="522"/>
                    </a:lnTo>
                    <a:lnTo>
                      <a:pt x="555" y="523"/>
                    </a:lnTo>
                    <a:lnTo>
                      <a:pt x="555" y="524"/>
                    </a:lnTo>
                    <a:lnTo>
                      <a:pt x="555" y="529"/>
                    </a:lnTo>
                    <a:lnTo>
                      <a:pt x="554" y="529"/>
                    </a:lnTo>
                    <a:lnTo>
                      <a:pt x="554" y="530"/>
                    </a:lnTo>
                    <a:lnTo>
                      <a:pt x="551" y="531"/>
                    </a:lnTo>
                    <a:lnTo>
                      <a:pt x="549" y="535"/>
                    </a:lnTo>
                    <a:lnTo>
                      <a:pt x="547" y="539"/>
                    </a:lnTo>
                    <a:lnTo>
                      <a:pt x="546" y="540"/>
                    </a:lnTo>
                    <a:lnTo>
                      <a:pt x="544" y="542"/>
                    </a:lnTo>
                    <a:lnTo>
                      <a:pt x="543" y="540"/>
                    </a:lnTo>
                    <a:lnTo>
                      <a:pt x="542" y="539"/>
                    </a:lnTo>
                    <a:lnTo>
                      <a:pt x="542" y="540"/>
                    </a:lnTo>
                    <a:lnTo>
                      <a:pt x="540" y="540"/>
                    </a:lnTo>
                    <a:lnTo>
                      <a:pt x="541" y="543"/>
                    </a:lnTo>
                    <a:lnTo>
                      <a:pt x="541" y="544"/>
                    </a:lnTo>
                    <a:lnTo>
                      <a:pt x="541" y="545"/>
                    </a:lnTo>
                    <a:lnTo>
                      <a:pt x="542" y="546"/>
                    </a:lnTo>
                    <a:lnTo>
                      <a:pt x="542" y="549"/>
                    </a:lnTo>
                    <a:lnTo>
                      <a:pt x="541" y="549"/>
                    </a:lnTo>
                    <a:lnTo>
                      <a:pt x="540" y="550"/>
                    </a:lnTo>
                    <a:lnTo>
                      <a:pt x="539" y="550"/>
                    </a:lnTo>
                    <a:lnTo>
                      <a:pt x="536" y="552"/>
                    </a:lnTo>
                    <a:lnTo>
                      <a:pt x="535" y="553"/>
                    </a:lnTo>
                    <a:lnTo>
                      <a:pt x="536" y="556"/>
                    </a:lnTo>
                    <a:lnTo>
                      <a:pt x="536" y="557"/>
                    </a:lnTo>
                    <a:lnTo>
                      <a:pt x="535" y="561"/>
                    </a:lnTo>
                    <a:lnTo>
                      <a:pt x="534" y="565"/>
                    </a:lnTo>
                    <a:lnTo>
                      <a:pt x="533" y="564"/>
                    </a:lnTo>
                    <a:lnTo>
                      <a:pt x="532" y="563"/>
                    </a:lnTo>
                    <a:lnTo>
                      <a:pt x="530" y="564"/>
                    </a:lnTo>
                    <a:lnTo>
                      <a:pt x="530" y="565"/>
                    </a:lnTo>
                    <a:lnTo>
                      <a:pt x="532" y="565"/>
                    </a:lnTo>
                    <a:lnTo>
                      <a:pt x="533" y="566"/>
                    </a:lnTo>
                    <a:lnTo>
                      <a:pt x="533" y="567"/>
                    </a:lnTo>
                    <a:lnTo>
                      <a:pt x="533" y="568"/>
                    </a:lnTo>
                    <a:lnTo>
                      <a:pt x="532" y="571"/>
                    </a:lnTo>
                    <a:lnTo>
                      <a:pt x="532" y="572"/>
                    </a:lnTo>
                    <a:lnTo>
                      <a:pt x="532" y="574"/>
                    </a:lnTo>
                    <a:lnTo>
                      <a:pt x="532" y="578"/>
                    </a:lnTo>
                    <a:lnTo>
                      <a:pt x="532" y="580"/>
                    </a:lnTo>
                    <a:lnTo>
                      <a:pt x="532" y="582"/>
                    </a:lnTo>
                    <a:lnTo>
                      <a:pt x="532" y="584"/>
                    </a:lnTo>
                    <a:lnTo>
                      <a:pt x="530" y="584"/>
                    </a:lnTo>
                    <a:lnTo>
                      <a:pt x="530" y="585"/>
                    </a:lnTo>
                    <a:lnTo>
                      <a:pt x="529" y="585"/>
                    </a:lnTo>
                    <a:lnTo>
                      <a:pt x="528" y="586"/>
                    </a:lnTo>
                    <a:lnTo>
                      <a:pt x="527" y="587"/>
                    </a:lnTo>
                    <a:lnTo>
                      <a:pt x="526" y="589"/>
                    </a:lnTo>
                    <a:lnTo>
                      <a:pt x="526" y="591"/>
                    </a:lnTo>
                    <a:lnTo>
                      <a:pt x="526" y="592"/>
                    </a:lnTo>
                    <a:lnTo>
                      <a:pt x="526" y="593"/>
                    </a:lnTo>
                    <a:lnTo>
                      <a:pt x="526" y="594"/>
                    </a:lnTo>
                    <a:lnTo>
                      <a:pt x="525" y="595"/>
                    </a:lnTo>
                    <a:lnTo>
                      <a:pt x="525" y="599"/>
                    </a:lnTo>
                    <a:lnTo>
                      <a:pt x="525" y="601"/>
                    </a:lnTo>
                    <a:lnTo>
                      <a:pt x="523" y="602"/>
                    </a:lnTo>
                    <a:lnTo>
                      <a:pt x="522" y="605"/>
                    </a:lnTo>
                    <a:lnTo>
                      <a:pt x="519" y="609"/>
                    </a:lnTo>
                    <a:lnTo>
                      <a:pt x="519" y="610"/>
                    </a:lnTo>
                    <a:lnTo>
                      <a:pt x="519" y="612"/>
                    </a:lnTo>
                    <a:lnTo>
                      <a:pt x="518" y="613"/>
                    </a:lnTo>
                    <a:lnTo>
                      <a:pt x="518" y="615"/>
                    </a:lnTo>
                    <a:lnTo>
                      <a:pt x="516" y="616"/>
                    </a:lnTo>
                    <a:lnTo>
                      <a:pt x="515" y="617"/>
                    </a:lnTo>
                    <a:lnTo>
                      <a:pt x="514" y="619"/>
                    </a:lnTo>
                    <a:lnTo>
                      <a:pt x="514" y="621"/>
                    </a:lnTo>
                    <a:lnTo>
                      <a:pt x="514" y="622"/>
                    </a:lnTo>
                    <a:lnTo>
                      <a:pt x="512" y="624"/>
                    </a:lnTo>
                    <a:lnTo>
                      <a:pt x="512" y="626"/>
                    </a:lnTo>
                    <a:lnTo>
                      <a:pt x="512" y="627"/>
                    </a:lnTo>
                    <a:lnTo>
                      <a:pt x="513" y="627"/>
                    </a:lnTo>
                    <a:lnTo>
                      <a:pt x="514" y="628"/>
                    </a:lnTo>
                    <a:lnTo>
                      <a:pt x="513" y="629"/>
                    </a:lnTo>
                    <a:lnTo>
                      <a:pt x="512" y="630"/>
                    </a:lnTo>
                    <a:lnTo>
                      <a:pt x="512" y="631"/>
                    </a:lnTo>
                    <a:lnTo>
                      <a:pt x="512" y="633"/>
                    </a:lnTo>
                    <a:lnTo>
                      <a:pt x="513" y="634"/>
                    </a:lnTo>
                    <a:lnTo>
                      <a:pt x="513" y="635"/>
                    </a:lnTo>
                    <a:lnTo>
                      <a:pt x="513" y="636"/>
                    </a:lnTo>
                    <a:lnTo>
                      <a:pt x="512" y="636"/>
                    </a:lnTo>
                    <a:lnTo>
                      <a:pt x="511" y="636"/>
                    </a:lnTo>
                    <a:lnTo>
                      <a:pt x="509" y="637"/>
                    </a:lnTo>
                    <a:lnTo>
                      <a:pt x="508" y="638"/>
                    </a:lnTo>
                    <a:lnTo>
                      <a:pt x="509" y="640"/>
                    </a:lnTo>
                    <a:lnTo>
                      <a:pt x="511" y="641"/>
                    </a:lnTo>
                    <a:lnTo>
                      <a:pt x="512" y="641"/>
                    </a:lnTo>
                    <a:lnTo>
                      <a:pt x="512" y="640"/>
                    </a:lnTo>
                    <a:lnTo>
                      <a:pt x="513" y="641"/>
                    </a:lnTo>
                    <a:lnTo>
                      <a:pt x="515" y="643"/>
                    </a:lnTo>
                    <a:lnTo>
                      <a:pt x="515" y="644"/>
                    </a:lnTo>
                    <a:lnTo>
                      <a:pt x="515" y="647"/>
                    </a:lnTo>
                    <a:lnTo>
                      <a:pt x="515" y="648"/>
                    </a:lnTo>
                    <a:lnTo>
                      <a:pt x="518" y="651"/>
                    </a:lnTo>
                    <a:lnTo>
                      <a:pt x="518" y="652"/>
                    </a:lnTo>
                    <a:lnTo>
                      <a:pt x="515" y="651"/>
                    </a:lnTo>
                    <a:lnTo>
                      <a:pt x="514" y="651"/>
                    </a:lnTo>
                    <a:lnTo>
                      <a:pt x="513" y="650"/>
                    </a:lnTo>
                    <a:lnTo>
                      <a:pt x="512" y="651"/>
                    </a:lnTo>
                    <a:lnTo>
                      <a:pt x="511" y="652"/>
                    </a:lnTo>
                    <a:lnTo>
                      <a:pt x="511" y="654"/>
                    </a:lnTo>
                    <a:lnTo>
                      <a:pt x="512" y="656"/>
                    </a:lnTo>
                    <a:lnTo>
                      <a:pt x="511" y="659"/>
                    </a:lnTo>
                    <a:lnTo>
                      <a:pt x="511" y="662"/>
                    </a:lnTo>
                    <a:lnTo>
                      <a:pt x="511" y="665"/>
                    </a:lnTo>
                    <a:lnTo>
                      <a:pt x="511" y="668"/>
                    </a:lnTo>
                    <a:lnTo>
                      <a:pt x="511" y="669"/>
                    </a:lnTo>
                    <a:lnTo>
                      <a:pt x="499" y="661"/>
                    </a:lnTo>
                    <a:lnTo>
                      <a:pt x="487" y="654"/>
                    </a:lnTo>
                    <a:lnTo>
                      <a:pt x="475" y="645"/>
                    </a:lnTo>
                    <a:lnTo>
                      <a:pt x="463" y="637"/>
                    </a:lnTo>
                    <a:lnTo>
                      <a:pt x="451" y="629"/>
                    </a:lnTo>
                    <a:lnTo>
                      <a:pt x="440" y="621"/>
                    </a:lnTo>
                    <a:lnTo>
                      <a:pt x="427" y="614"/>
                    </a:lnTo>
                    <a:lnTo>
                      <a:pt x="415" y="606"/>
                    </a:lnTo>
                    <a:lnTo>
                      <a:pt x="414" y="605"/>
                    </a:lnTo>
                    <a:lnTo>
                      <a:pt x="411" y="603"/>
                    </a:lnTo>
                    <a:lnTo>
                      <a:pt x="409" y="603"/>
                    </a:lnTo>
                    <a:lnTo>
                      <a:pt x="408" y="603"/>
                    </a:lnTo>
                    <a:lnTo>
                      <a:pt x="408" y="602"/>
                    </a:lnTo>
                    <a:lnTo>
                      <a:pt x="413" y="596"/>
                    </a:lnTo>
                    <a:lnTo>
                      <a:pt x="414" y="595"/>
                    </a:lnTo>
                    <a:lnTo>
                      <a:pt x="415" y="594"/>
                    </a:lnTo>
                    <a:lnTo>
                      <a:pt x="415" y="592"/>
                    </a:lnTo>
                    <a:lnTo>
                      <a:pt x="415" y="591"/>
                    </a:lnTo>
                    <a:lnTo>
                      <a:pt x="414" y="588"/>
                    </a:lnTo>
                    <a:lnTo>
                      <a:pt x="413" y="588"/>
                    </a:lnTo>
                    <a:lnTo>
                      <a:pt x="412" y="587"/>
                    </a:lnTo>
                    <a:lnTo>
                      <a:pt x="412" y="586"/>
                    </a:lnTo>
                    <a:lnTo>
                      <a:pt x="412" y="582"/>
                    </a:lnTo>
                    <a:lnTo>
                      <a:pt x="412" y="581"/>
                    </a:lnTo>
                    <a:lnTo>
                      <a:pt x="412" y="579"/>
                    </a:lnTo>
                    <a:lnTo>
                      <a:pt x="411" y="578"/>
                    </a:lnTo>
                    <a:lnTo>
                      <a:pt x="409" y="577"/>
                    </a:lnTo>
                    <a:lnTo>
                      <a:pt x="408" y="575"/>
                    </a:lnTo>
                    <a:lnTo>
                      <a:pt x="408" y="573"/>
                    </a:lnTo>
                    <a:lnTo>
                      <a:pt x="409" y="572"/>
                    </a:lnTo>
                    <a:lnTo>
                      <a:pt x="409" y="571"/>
                    </a:lnTo>
                    <a:lnTo>
                      <a:pt x="409" y="570"/>
                    </a:lnTo>
                    <a:lnTo>
                      <a:pt x="409" y="568"/>
                    </a:lnTo>
                    <a:lnTo>
                      <a:pt x="408" y="564"/>
                    </a:lnTo>
                    <a:lnTo>
                      <a:pt x="408" y="563"/>
                    </a:lnTo>
                    <a:lnTo>
                      <a:pt x="407" y="563"/>
                    </a:lnTo>
                    <a:lnTo>
                      <a:pt x="408" y="560"/>
                    </a:lnTo>
                    <a:lnTo>
                      <a:pt x="409" y="558"/>
                    </a:lnTo>
                    <a:lnTo>
                      <a:pt x="408" y="556"/>
                    </a:lnTo>
                    <a:lnTo>
                      <a:pt x="407" y="554"/>
                    </a:lnTo>
                    <a:lnTo>
                      <a:pt x="406" y="553"/>
                    </a:lnTo>
                    <a:lnTo>
                      <a:pt x="407" y="551"/>
                    </a:lnTo>
                    <a:lnTo>
                      <a:pt x="407" y="550"/>
                    </a:lnTo>
                    <a:lnTo>
                      <a:pt x="407" y="549"/>
                    </a:lnTo>
                    <a:lnTo>
                      <a:pt x="406" y="547"/>
                    </a:lnTo>
                    <a:lnTo>
                      <a:pt x="405" y="547"/>
                    </a:lnTo>
                    <a:lnTo>
                      <a:pt x="404" y="547"/>
                    </a:lnTo>
                    <a:lnTo>
                      <a:pt x="404" y="546"/>
                    </a:lnTo>
                    <a:lnTo>
                      <a:pt x="402" y="546"/>
                    </a:lnTo>
                    <a:lnTo>
                      <a:pt x="402" y="545"/>
                    </a:lnTo>
                    <a:lnTo>
                      <a:pt x="402" y="544"/>
                    </a:lnTo>
                    <a:lnTo>
                      <a:pt x="401" y="544"/>
                    </a:lnTo>
                    <a:lnTo>
                      <a:pt x="400" y="544"/>
                    </a:lnTo>
                    <a:lnTo>
                      <a:pt x="393" y="539"/>
                    </a:lnTo>
                    <a:lnTo>
                      <a:pt x="392" y="539"/>
                    </a:lnTo>
                    <a:lnTo>
                      <a:pt x="391" y="538"/>
                    </a:lnTo>
                    <a:lnTo>
                      <a:pt x="390" y="538"/>
                    </a:lnTo>
                    <a:lnTo>
                      <a:pt x="388" y="539"/>
                    </a:lnTo>
                    <a:lnTo>
                      <a:pt x="381" y="542"/>
                    </a:lnTo>
                    <a:lnTo>
                      <a:pt x="380" y="540"/>
                    </a:lnTo>
                    <a:lnTo>
                      <a:pt x="380" y="539"/>
                    </a:lnTo>
                    <a:lnTo>
                      <a:pt x="379" y="538"/>
                    </a:lnTo>
                    <a:lnTo>
                      <a:pt x="378" y="538"/>
                    </a:lnTo>
                    <a:lnTo>
                      <a:pt x="378" y="537"/>
                    </a:lnTo>
                    <a:lnTo>
                      <a:pt x="377" y="537"/>
                    </a:lnTo>
                    <a:lnTo>
                      <a:pt x="376" y="538"/>
                    </a:lnTo>
                    <a:lnTo>
                      <a:pt x="373" y="538"/>
                    </a:lnTo>
                    <a:lnTo>
                      <a:pt x="372" y="538"/>
                    </a:lnTo>
                    <a:lnTo>
                      <a:pt x="371" y="539"/>
                    </a:lnTo>
                    <a:lnTo>
                      <a:pt x="370" y="540"/>
                    </a:lnTo>
                    <a:lnTo>
                      <a:pt x="369" y="545"/>
                    </a:lnTo>
                    <a:lnTo>
                      <a:pt x="368" y="546"/>
                    </a:lnTo>
                    <a:lnTo>
                      <a:pt x="368" y="545"/>
                    </a:lnTo>
                    <a:lnTo>
                      <a:pt x="366" y="544"/>
                    </a:lnTo>
                    <a:lnTo>
                      <a:pt x="365" y="544"/>
                    </a:lnTo>
                    <a:lnTo>
                      <a:pt x="364" y="544"/>
                    </a:lnTo>
                    <a:lnTo>
                      <a:pt x="361" y="544"/>
                    </a:lnTo>
                    <a:lnTo>
                      <a:pt x="359" y="544"/>
                    </a:lnTo>
                    <a:lnTo>
                      <a:pt x="358" y="544"/>
                    </a:lnTo>
                    <a:lnTo>
                      <a:pt x="357" y="543"/>
                    </a:lnTo>
                    <a:lnTo>
                      <a:pt x="357" y="542"/>
                    </a:lnTo>
                    <a:lnTo>
                      <a:pt x="356" y="542"/>
                    </a:lnTo>
                    <a:lnTo>
                      <a:pt x="356" y="543"/>
                    </a:lnTo>
                    <a:lnTo>
                      <a:pt x="354" y="544"/>
                    </a:lnTo>
                    <a:lnTo>
                      <a:pt x="354" y="545"/>
                    </a:lnTo>
                    <a:lnTo>
                      <a:pt x="352" y="546"/>
                    </a:lnTo>
                    <a:lnTo>
                      <a:pt x="352" y="547"/>
                    </a:lnTo>
                    <a:lnTo>
                      <a:pt x="352" y="549"/>
                    </a:lnTo>
                    <a:lnTo>
                      <a:pt x="352" y="550"/>
                    </a:lnTo>
                    <a:lnTo>
                      <a:pt x="352" y="551"/>
                    </a:lnTo>
                    <a:lnTo>
                      <a:pt x="352" y="552"/>
                    </a:lnTo>
                    <a:lnTo>
                      <a:pt x="354" y="552"/>
                    </a:lnTo>
                    <a:lnTo>
                      <a:pt x="354" y="553"/>
                    </a:lnTo>
                    <a:lnTo>
                      <a:pt x="355" y="553"/>
                    </a:lnTo>
                    <a:lnTo>
                      <a:pt x="356" y="554"/>
                    </a:lnTo>
                    <a:lnTo>
                      <a:pt x="357" y="554"/>
                    </a:lnTo>
                    <a:lnTo>
                      <a:pt x="358" y="554"/>
                    </a:lnTo>
                    <a:lnTo>
                      <a:pt x="358" y="556"/>
                    </a:lnTo>
                    <a:lnTo>
                      <a:pt x="352" y="557"/>
                    </a:lnTo>
                    <a:lnTo>
                      <a:pt x="352" y="556"/>
                    </a:lnTo>
                    <a:lnTo>
                      <a:pt x="350" y="553"/>
                    </a:lnTo>
                    <a:lnTo>
                      <a:pt x="350" y="551"/>
                    </a:lnTo>
                    <a:lnTo>
                      <a:pt x="350" y="549"/>
                    </a:lnTo>
                    <a:lnTo>
                      <a:pt x="350" y="546"/>
                    </a:lnTo>
                    <a:lnTo>
                      <a:pt x="349" y="545"/>
                    </a:lnTo>
                    <a:lnTo>
                      <a:pt x="348" y="545"/>
                    </a:lnTo>
                    <a:lnTo>
                      <a:pt x="347" y="545"/>
                    </a:lnTo>
                    <a:lnTo>
                      <a:pt x="345" y="545"/>
                    </a:lnTo>
                    <a:lnTo>
                      <a:pt x="345" y="546"/>
                    </a:lnTo>
                    <a:lnTo>
                      <a:pt x="343" y="546"/>
                    </a:lnTo>
                    <a:lnTo>
                      <a:pt x="342" y="545"/>
                    </a:lnTo>
                    <a:lnTo>
                      <a:pt x="341" y="544"/>
                    </a:lnTo>
                    <a:lnTo>
                      <a:pt x="338" y="544"/>
                    </a:lnTo>
                    <a:lnTo>
                      <a:pt x="337" y="543"/>
                    </a:lnTo>
                    <a:lnTo>
                      <a:pt x="337" y="542"/>
                    </a:lnTo>
                    <a:lnTo>
                      <a:pt x="335" y="542"/>
                    </a:lnTo>
                    <a:lnTo>
                      <a:pt x="334" y="542"/>
                    </a:lnTo>
                    <a:lnTo>
                      <a:pt x="334" y="540"/>
                    </a:lnTo>
                    <a:lnTo>
                      <a:pt x="333" y="539"/>
                    </a:lnTo>
                    <a:lnTo>
                      <a:pt x="331" y="539"/>
                    </a:lnTo>
                    <a:lnTo>
                      <a:pt x="329" y="539"/>
                    </a:lnTo>
                    <a:lnTo>
                      <a:pt x="329" y="538"/>
                    </a:lnTo>
                    <a:lnTo>
                      <a:pt x="327" y="536"/>
                    </a:lnTo>
                    <a:lnTo>
                      <a:pt x="326" y="536"/>
                    </a:lnTo>
                    <a:lnTo>
                      <a:pt x="321" y="535"/>
                    </a:lnTo>
                    <a:lnTo>
                      <a:pt x="320" y="533"/>
                    </a:lnTo>
                    <a:lnTo>
                      <a:pt x="319" y="533"/>
                    </a:lnTo>
                    <a:lnTo>
                      <a:pt x="317" y="533"/>
                    </a:lnTo>
                    <a:lnTo>
                      <a:pt x="317" y="535"/>
                    </a:lnTo>
                    <a:lnTo>
                      <a:pt x="316" y="533"/>
                    </a:lnTo>
                    <a:lnTo>
                      <a:pt x="315" y="533"/>
                    </a:lnTo>
                    <a:lnTo>
                      <a:pt x="312" y="538"/>
                    </a:lnTo>
                    <a:lnTo>
                      <a:pt x="311" y="538"/>
                    </a:lnTo>
                    <a:lnTo>
                      <a:pt x="307" y="537"/>
                    </a:lnTo>
                    <a:lnTo>
                      <a:pt x="305" y="536"/>
                    </a:lnTo>
                    <a:lnTo>
                      <a:pt x="304" y="536"/>
                    </a:lnTo>
                    <a:lnTo>
                      <a:pt x="302" y="536"/>
                    </a:lnTo>
                    <a:lnTo>
                      <a:pt x="302" y="537"/>
                    </a:lnTo>
                    <a:lnTo>
                      <a:pt x="301" y="537"/>
                    </a:lnTo>
                    <a:lnTo>
                      <a:pt x="300" y="537"/>
                    </a:lnTo>
                    <a:lnTo>
                      <a:pt x="300" y="536"/>
                    </a:lnTo>
                    <a:lnTo>
                      <a:pt x="299" y="536"/>
                    </a:lnTo>
                    <a:lnTo>
                      <a:pt x="294" y="535"/>
                    </a:lnTo>
                    <a:lnTo>
                      <a:pt x="293" y="535"/>
                    </a:lnTo>
                    <a:lnTo>
                      <a:pt x="293" y="533"/>
                    </a:lnTo>
                    <a:lnTo>
                      <a:pt x="291" y="533"/>
                    </a:lnTo>
                    <a:lnTo>
                      <a:pt x="288" y="533"/>
                    </a:lnTo>
                    <a:lnTo>
                      <a:pt x="287" y="532"/>
                    </a:lnTo>
                    <a:lnTo>
                      <a:pt x="287" y="531"/>
                    </a:lnTo>
                    <a:lnTo>
                      <a:pt x="287" y="530"/>
                    </a:lnTo>
                    <a:lnTo>
                      <a:pt x="286" y="530"/>
                    </a:lnTo>
                    <a:lnTo>
                      <a:pt x="285" y="529"/>
                    </a:lnTo>
                    <a:lnTo>
                      <a:pt x="284" y="529"/>
                    </a:lnTo>
                    <a:lnTo>
                      <a:pt x="279" y="530"/>
                    </a:lnTo>
                    <a:lnTo>
                      <a:pt x="277" y="530"/>
                    </a:lnTo>
                    <a:lnTo>
                      <a:pt x="274" y="528"/>
                    </a:lnTo>
                    <a:lnTo>
                      <a:pt x="265" y="518"/>
                    </a:lnTo>
                    <a:lnTo>
                      <a:pt x="263" y="517"/>
                    </a:lnTo>
                    <a:lnTo>
                      <a:pt x="260" y="517"/>
                    </a:lnTo>
                    <a:lnTo>
                      <a:pt x="258" y="517"/>
                    </a:lnTo>
                    <a:lnTo>
                      <a:pt x="253" y="519"/>
                    </a:lnTo>
                    <a:lnTo>
                      <a:pt x="250" y="519"/>
                    </a:lnTo>
                    <a:lnTo>
                      <a:pt x="248" y="518"/>
                    </a:lnTo>
                    <a:lnTo>
                      <a:pt x="245" y="517"/>
                    </a:lnTo>
                    <a:lnTo>
                      <a:pt x="244" y="517"/>
                    </a:lnTo>
                    <a:lnTo>
                      <a:pt x="238" y="516"/>
                    </a:lnTo>
                    <a:lnTo>
                      <a:pt x="231" y="517"/>
                    </a:lnTo>
                    <a:lnTo>
                      <a:pt x="230" y="517"/>
                    </a:lnTo>
                    <a:lnTo>
                      <a:pt x="229" y="518"/>
                    </a:lnTo>
                    <a:lnTo>
                      <a:pt x="229" y="519"/>
                    </a:lnTo>
                    <a:lnTo>
                      <a:pt x="228" y="523"/>
                    </a:lnTo>
                    <a:lnTo>
                      <a:pt x="227" y="525"/>
                    </a:lnTo>
                    <a:lnTo>
                      <a:pt x="226" y="526"/>
                    </a:lnTo>
                    <a:lnTo>
                      <a:pt x="227" y="529"/>
                    </a:lnTo>
                    <a:lnTo>
                      <a:pt x="227" y="530"/>
                    </a:lnTo>
                    <a:lnTo>
                      <a:pt x="228" y="531"/>
                    </a:lnTo>
                    <a:lnTo>
                      <a:pt x="228" y="532"/>
                    </a:lnTo>
                    <a:lnTo>
                      <a:pt x="228" y="533"/>
                    </a:lnTo>
                    <a:lnTo>
                      <a:pt x="227" y="533"/>
                    </a:lnTo>
                    <a:lnTo>
                      <a:pt x="224" y="532"/>
                    </a:lnTo>
                    <a:lnTo>
                      <a:pt x="223" y="532"/>
                    </a:lnTo>
                    <a:lnTo>
                      <a:pt x="222" y="532"/>
                    </a:lnTo>
                    <a:lnTo>
                      <a:pt x="219" y="535"/>
                    </a:lnTo>
                    <a:lnTo>
                      <a:pt x="217" y="536"/>
                    </a:lnTo>
                    <a:lnTo>
                      <a:pt x="215" y="536"/>
                    </a:lnTo>
                    <a:lnTo>
                      <a:pt x="214" y="536"/>
                    </a:lnTo>
                    <a:lnTo>
                      <a:pt x="213" y="535"/>
                    </a:lnTo>
                    <a:lnTo>
                      <a:pt x="213" y="533"/>
                    </a:lnTo>
                    <a:lnTo>
                      <a:pt x="212" y="533"/>
                    </a:lnTo>
                    <a:lnTo>
                      <a:pt x="212" y="532"/>
                    </a:lnTo>
                    <a:lnTo>
                      <a:pt x="210" y="531"/>
                    </a:lnTo>
                    <a:lnTo>
                      <a:pt x="209" y="531"/>
                    </a:lnTo>
                    <a:lnTo>
                      <a:pt x="207" y="530"/>
                    </a:lnTo>
                    <a:lnTo>
                      <a:pt x="206" y="530"/>
                    </a:lnTo>
                    <a:lnTo>
                      <a:pt x="200" y="521"/>
                    </a:lnTo>
                    <a:lnTo>
                      <a:pt x="198" y="521"/>
                    </a:lnTo>
                    <a:lnTo>
                      <a:pt x="196" y="519"/>
                    </a:lnTo>
                    <a:lnTo>
                      <a:pt x="196" y="517"/>
                    </a:lnTo>
                    <a:lnTo>
                      <a:pt x="194" y="510"/>
                    </a:lnTo>
                    <a:lnTo>
                      <a:pt x="193" y="507"/>
                    </a:lnTo>
                    <a:lnTo>
                      <a:pt x="191" y="505"/>
                    </a:lnTo>
                    <a:lnTo>
                      <a:pt x="189" y="505"/>
                    </a:lnTo>
                    <a:lnTo>
                      <a:pt x="188" y="504"/>
                    </a:lnTo>
                    <a:lnTo>
                      <a:pt x="187" y="503"/>
                    </a:lnTo>
                    <a:lnTo>
                      <a:pt x="186" y="502"/>
                    </a:lnTo>
                    <a:lnTo>
                      <a:pt x="185" y="501"/>
                    </a:lnTo>
                    <a:lnTo>
                      <a:pt x="185" y="500"/>
                    </a:lnTo>
                    <a:lnTo>
                      <a:pt x="184" y="500"/>
                    </a:lnTo>
                    <a:lnTo>
                      <a:pt x="183" y="500"/>
                    </a:lnTo>
                    <a:lnTo>
                      <a:pt x="181" y="497"/>
                    </a:lnTo>
                    <a:lnTo>
                      <a:pt x="179" y="491"/>
                    </a:lnTo>
                    <a:lnTo>
                      <a:pt x="177" y="490"/>
                    </a:lnTo>
                    <a:lnTo>
                      <a:pt x="174" y="490"/>
                    </a:lnTo>
                    <a:lnTo>
                      <a:pt x="173" y="489"/>
                    </a:lnTo>
                    <a:lnTo>
                      <a:pt x="172" y="487"/>
                    </a:lnTo>
                    <a:lnTo>
                      <a:pt x="171" y="486"/>
                    </a:lnTo>
                    <a:lnTo>
                      <a:pt x="167" y="484"/>
                    </a:lnTo>
                    <a:lnTo>
                      <a:pt x="165" y="482"/>
                    </a:lnTo>
                    <a:lnTo>
                      <a:pt x="164" y="481"/>
                    </a:lnTo>
                    <a:lnTo>
                      <a:pt x="163" y="480"/>
                    </a:lnTo>
                    <a:lnTo>
                      <a:pt x="162" y="480"/>
                    </a:lnTo>
                    <a:lnTo>
                      <a:pt x="162" y="479"/>
                    </a:lnTo>
                    <a:lnTo>
                      <a:pt x="160" y="479"/>
                    </a:lnTo>
                    <a:lnTo>
                      <a:pt x="158" y="476"/>
                    </a:lnTo>
                    <a:lnTo>
                      <a:pt x="153" y="475"/>
                    </a:lnTo>
                    <a:lnTo>
                      <a:pt x="150" y="473"/>
                    </a:lnTo>
                    <a:lnTo>
                      <a:pt x="149" y="472"/>
                    </a:lnTo>
                    <a:lnTo>
                      <a:pt x="149" y="470"/>
                    </a:lnTo>
                    <a:lnTo>
                      <a:pt x="150" y="470"/>
                    </a:lnTo>
                    <a:lnTo>
                      <a:pt x="150" y="469"/>
                    </a:lnTo>
                    <a:lnTo>
                      <a:pt x="150" y="468"/>
                    </a:lnTo>
                    <a:lnTo>
                      <a:pt x="150" y="466"/>
                    </a:lnTo>
                    <a:lnTo>
                      <a:pt x="150" y="465"/>
                    </a:lnTo>
                    <a:lnTo>
                      <a:pt x="149" y="463"/>
                    </a:lnTo>
                    <a:lnTo>
                      <a:pt x="148" y="463"/>
                    </a:lnTo>
                    <a:lnTo>
                      <a:pt x="143" y="461"/>
                    </a:lnTo>
                    <a:lnTo>
                      <a:pt x="142" y="461"/>
                    </a:lnTo>
                    <a:lnTo>
                      <a:pt x="141" y="460"/>
                    </a:lnTo>
                    <a:lnTo>
                      <a:pt x="139" y="459"/>
                    </a:lnTo>
                    <a:lnTo>
                      <a:pt x="138" y="456"/>
                    </a:lnTo>
                    <a:lnTo>
                      <a:pt x="137" y="453"/>
                    </a:lnTo>
                    <a:lnTo>
                      <a:pt x="137" y="451"/>
                    </a:lnTo>
                    <a:lnTo>
                      <a:pt x="137" y="446"/>
                    </a:lnTo>
                    <a:lnTo>
                      <a:pt x="136" y="444"/>
                    </a:lnTo>
                    <a:lnTo>
                      <a:pt x="136" y="442"/>
                    </a:lnTo>
                    <a:lnTo>
                      <a:pt x="137" y="441"/>
                    </a:lnTo>
                    <a:lnTo>
                      <a:pt x="137" y="440"/>
                    </a:lnTo>
                    <a:lnTo>
                      <a:pt x="137" y="439"/>
                    </a:lnTo>
                    <a:lnTo>
                      <a:pt x="137" y="438"/>
                    </a:lnTo>
                    <a:lnTo>
                      <a:pt x="138" y="437"/>
                    </a:lnTo>
                    <a:lnTo>
                      <a:pt x="138" y="435"/>
                    </a:lnTo>
                    <a:lnTo>
                      <a:pt x="138" y="434"/>
                    </a:lnTo>
                    <a:lnTo>
                      <a:pt x="138" y="433"/>
                    </a:lnTo>
                    <a:lnTo>
                      <a:pt x="138" y="432"/>
                    </a:lnTo>
                    <a:lnTo>
                      <a:pt x="139" y="432"/>
                    </a:lnTo>
                    <a:lnTo>
                      <a:pt x="138" y="431"/>
                    </a:lnTo>
                    <a:lnTo>
                      <a:pt x="137" y="430"/>
                    </a:lnTo>
                    <a:lnTo>
                      <a:pt x="136" y="430"/>
                    </a:lnTo>
                    <a:lnTo>
                      <a:pt x="135" y="430"/>
                    </a:lnTo>
                    <a:lnTo>
                      <a:pt x="134" y="428"/>
                    </a:lnTo>
                    <a:lnTo>
                      <a:pt x="134" y="427"/>
                    </a:lnTo>
                    <a:lnTo>
                      <a:pt x="132" y="427"/>
                    </a:lnTo>
                    <a:lnTo>
                      <a:pt x="131" y="426"/>
                    </a:lnTo>
                    <a:lnTo>
                      <a:pt x="131" y="425"/>
                    </a:lnTo>
                    <a:lnTo>
                      <a:pt x="128" y="423"/>
                    </a:lnTo>
                    <a:lnTo>
                      <a:pt x="127" y="423"/>
                    </a:lnTo>
                    <a:lnTo>
                      <a:pt x="121" y="421"/>
                    </a:lnTo>
                    <a:lnTo>
                      <a:pt x="119" y="420"/>
                    </a:lnTo>
                    <a:lnTo>
                      <a:pt x="117" y="420"/>
                    </a:lnTo>
                    <a:lnTo>
                      <a:pt x="117" y="421"/>
                    </a:lnTo>
                    <a:lnTo>
                      <a:pt x="116" y="420"/>
                    </a:lnTo>
                    <a:lnTo>
                      <a:pt x="114" y="419"/>
                    </a:lnTo>
                    <a:lnTo>
                      <a:pt x="113" y="419"/>
                    </a:lnTo>
                    <a:lnTo>
                      <a:pt x="110" y="420"/>
                    </a:lnTo>
                    <a:lnTo>
                      <a:pt x="110" y="419"/>
                    </a:lnTo>
                    <a:lnTo>
                      <a:pt x="110" y="418"/>
                    </a:lnTo>
                    <a:lnTo>
                      <a:pt x="109" y="417"/>
                    </a:lnTo>
                    <a:lnTo>
                      <a:pt x="109" y="416"/>
                    </a:lnTo>
                    <a:lnTo>
                      <a:pt x="107" y="414"/>
                    </a:lnTo>
                    <a:lnTo>
                      <a:pt x="107" y="413"/>
                    </a:lnTo>
                    <a:lnTo>
                      <a:pt x="106" y="412"/>
                    </a:lnTo>
                    <a:lnTo>
                      <a:pt x="106" y="413"/>
                    </a:lnTo>
                    <a:lnTo>
                      <a:pt x="103" y="413"/>
                    </a:lnTo>
                    <a:lnTo>
                      <a:pt x="102" y="414"/>
                    </a:lnTo>
                    <a:lnTo>
                      <a:pt x="101" y="416"/>
                    </a:lnTo>
                    <a:lnTo>
                      <a:pt x="100" y="418"/>
                    </a:lnTo>
                    <a:lnTo>
                      <a:pt x="100" y="419"/>
                    </a:lnTo>
                    <a:lnTo>
                      <a:pt x="100" y="420"/>
                    </a:lnTo>
                    <a:lnTo>
                      <a:pt x="100" y="421"/>
                    </a:lnTo>
                    <a:lnTo>
                      <a:pt x="99" y="423"/>
                    </a:lnTo>
                    <a:lnTo>
                      <a:pt x="99" y="424"/>
                    </a:lnTo>
                    <a:lnTo>
                      <a:pt x="98" y="423"/>
                    </a:lnTo>
                    <a:lnTo>
                      <a:pt x="96" y="423"/>
                    </a:lnTo>
                    <a:lnTo>
                      <a:pt x="95" y="423"/>
                    </a:lnTo>
                    <a:lnTo>
                      <a:pt x="95" y="424"/>
                    </a:lnTo>
                    <a:lnTo>
                      <a:pt x="95" y="425"/>
                    </a:lnTo>
                    <a:lnTo>
                      <a:pt x="96" y="426"/>
                    </a:lnTo>
                    <a:lnTo>
                      <a:pt x="96" y="427"/>
                    </a:lnTo>
                    <a:lnTo>
                      <a:pt x="95" y="427"/>
                    </a:lnTo>
                    <a:lnTo>
                      <a:pt x="94" y="426"/>
                    </a:lnTo>
                    <a:lnTo>
                      <a:pt x="93" y="426"/>
                    </a:lnTo>
                    <a:lnTo>
                      <a:pt x="92" y="426"/>
                    </a:lnTo>
                    <a:lnTo>
                      <a:pt x="91" y="426"/>
                    </a:lnTo>
                    <a:lnTo>
                      <a:pt x="91" y="425"/>
                    </a:lnTo>
                    <a:lnTo>
                      <a:pt x="89" y="425"/>
                    </a:lnTo>
                    <a:lnTo>
                      <a:pt x="89" y="424"/>
                    </a:lnTo>
                    <a:lnTo>
                      <a:pt x="89" y="423"/>
                    </a:lnTo>
                    <a:lnTo>
                      <a:pt x="89" y="421"/>
                    </a:lnTo>
                    <a:lnTo>
                      <a:pt x="87" y="418"/>
                    </a:lnTo>
                    <a:lnTo>
                      <a:pt x="86" y="416"/>
                    </a:lnTo>
                    <a:lnTo>
                      <a:pt x="86" y="414"/>
                    </a:lnTo>
                    <a:lnTo>
                      <a:pt x="86" y="413"/>
                    </a:lnTo>
                    <a:lnTo>
                      <a:pt x="86" y="412"/>
                    </a:lnTo>
                    <a:lnTo>
                      <a:pt x="82" y="409"/>
                    </a:lnTo>
                    <a:lnTo>
                      <a:pt x="81" y="407"/>
                    </a:lnTo>
                    <a:lnTo>
                      <a:pt x="81" y="400"/>
                    </a:lnTo>
                    <a:lnTo>
                      <a:pt x="81" y="399"/>
                    </a:lnTo>
                    <a:lnTo>
                      <a:pt x="82" y="398"/>
                    </a:lnTo>
                    <a:lnTo>
                      <a:pt x="84" y="396"/>
                    </a:lnTo>
                    <a:lnTo>
                      <a:pt x="84" y="395"/>
                    </a:lnTo>
                    <a:lnTo>
                      <a:pt x="84" y="393"/>
                    </a:lnTo>
                    <a:lnTo>
                      <a:pt x="82" y="393"/>
                    </a:lnTo>
                    <a:lnTo>
                      <a:pt x="81" y="393"/>
                    </a:lnTo>
                    <a:lnTo>
                      <a:pt x="80" y="393"/>
                    </a:lnTo>
                    <a:lnTo>
                      <a:pt x="79" y="392"/>
                    </a:lnTo>
                    <a:lnTo>
                      <a:pt x="78" y="391"/>
                    </a:lnTo>
                    <a:lnTo>
                      <a:pt x="77" y="390"/>
                    </a:lnTo>
                    <a:lnTo>
                      <a:pt x="77" y="389"/>
                    </a:lnTo>
                    <a:lnTo>
                      <a:pt x="75" y="388"/>
                    </a:lnTo>
                    <a:lnTo>
                      <a:pt x="75" y="385"/>
                    </a:lnTo>
                    <a:lnTo>
                      <a:pt x="75" y="384"/>
                    </a:lnTo>
                    <a:lnTo>
                      <a:pt x="74" y="382"/>
                    </a:lnTo>
                    <a:lnTo>
                      <a:pt x="73" y="382"/>
                    </a:lnTo>
                    <a:lnTo>
                      <a:pt x="72" y="382"/>
                    </a:lnTo>
                    <a:lnTo>
                      <a:pt x="71" y="381"/>
                    </a:lnTo>
                    <a:lnTo>
                      <a:pt x="70" y="379"/>
                    </a:lnTo>
                    <a:lnTo>
                      <a:pt x="68" y="379"/>
                    </a:lnTo>
                    <a:lnTo>
                      <a:pt x="67" y="379"/>
                    </a:lnTo>
                    <a:lnTo>
                      <a:pt x="66" y="379"/>
                    </a:lnTo>
                    <a:lnTo>
                      <a:pt x="65" y="377"/>
                    </a:lnTo>
                    <a:lnTo>
                      <a:pt x="64" y="376"/>
                    </a:lnTo>
                    <a:lnTo>
                      <a:pt x="61" y="375"/>
                    </a:lnTo>
                    <a:lnTo>
                      <a:pt x="58" y="376"/>
                    </a:lnTo>
                    <a:lnTo>
                      <a:pt x="57" y="376"/>
                    </a:lnTo>
                    <a:lnTo>
                      <a:pt x="56" y="375"/>
                    </a:lnTo>
                    <a:lnTo>
                      <a:pt x="55" y="376"/>
                    </a:lnTo>
                    <a:lnTo>
                      <a:pt x="53" y="376"/>
                    </a:lnTo>
                    <a:lnTo>
                      <a:pt x="51" y="376"/>
                    </a:lnTo>
                    <a:lnTo>
                      <a:pt x="49" y="376"/>
                    </a:lnTo>
                    <a:lnTo>
                      <a:pt x="46" y="374"/>
                    </a:lnTo>
                    <a:lnTo>
                      <a:pt x="45" y="374"/>
                    </a:lnTo>
                    <a:lnTo>
                      <a:pt x="43" y="374"/>
                    </a:lnTo>
                    <a:lnTo>
                      <a:pt x="41" y="375"/>
                    </a:lnTo>
                    <a:lnTo>
                      <a:pt x="38" y="376"/>
                    </a:lnTo>
                    <a:lnTo>
                      <a:pt x="36" y="378"/>
                    </a:lnTo>
                    <a:lnTo>
                      <a:pt x="35" y="381"/>
                    </a:lnTo>
                    <a:lnTo>
                      <a:pt x="34" y="381"/>
                    </a:lnTo>
                    <a:lnTo>
                      <a:pt x="32" y="381"/>
                    </a:lnTo>
                    <a:lnTo>
                      <a:pt x="31" y="381"/>
                    </a:lnTo>
                    <a:lnTo>
                      <a:pt x="31" y="379"/>
                    </a:lnTo>
                    <a:lnTo>
                      <a:pt x="31" y="378"/>
                    </a:lnTo>
                    <a:lnTo>
                      <a:pt x="30" y="377"/>
                    </a:lnTo>
                    <a:lnTo>
                      <a:pt x="28" y="377"/>
                    </a:lnTo>
                    <a:lnTo>
                      <a:pt x="27" y="377"/>
                    </a:lnTo>
                    <a:lnTo>
                      <a:pt x="24" y="375"/>
                    </a:lnTo>
                    <a:lnTo>
                      <a:pt x="23" y="375"/>
                    </a:lnTo>
                    <a:lnTo>
                      <a:pt x="22" y="375"/>
                    </a:lnTo>
                    <a:lnTo>
                      <a:pt x="21" y="375"/>
                    </a:lnTo>
                    <a:lnTo>
                      <a:pt x="20" y="375"/>
                    </a:lnTo>
                    <a:lnTo>
                      <a:pt x="18" y="372"/>
                    </a:lnTo>
                    <a:lnTo>
                      <a:pt x="17" y="372"/>
                    </a:lnTo>
                    <a:lnTo>
                      <a:pt x="16" y="371"/>
                    </a:lnTo>
                    <a:lnTo>
                      <a:pt x="16" y="370"/>
                    </a:lnTo>
                    <a:lnTo>
                      <a:pt x="15" y="370"/>
                    </a:lnTo>
                    <a:lnTo>
                      <a:pt x="14" y="370"/>
                    </a:lnTo>
                    <a:lnTo>
                      <a:pt x="13" y="370"/>
                    </a:lnTo>
                    <a:lnTo>
                      <a:pt x="11" y="370"/>
                    </a:lnTo>
                    <a:lnTo>
                      <a:pt x="10" y="369"/>
                    </a:lnTo>
                    <a:lnTo>
                      <a:pt x="9" y="369"/>
                    </a:lnTo>
                    <a:lnTo>
                      <a:pt x="8" y="369"/>
                    </a:lnTo>
                    <a:lnTo>
                      <a:pt x="3" y="368"/>
                    </a:lnTo>
                    <a:lnTo>
                      <a:pt x="1" y="367"/>
                    </a:lnTo>
                    <a:lnTo>
                      <a:pt x="0" y="364"/>
                    </a:lnTo>
                    <a:lnTo>
                      <a:pt x="1" y="342"/>
                    </a:lnTo>
                    <a:lnTo>
                      <a:pt x="2" y="319"/>
                    </a:lnTo>
                    <a:lnTo>
                      <a:pt x="4" y="297"/>
                    </a:lnTo>
                    <a:lnTo>
                      <a:pt x="6" y="273"/>
                    </a:lnTo>
                    <a:lnTo>
                      <a:pt x="7" y="251"/>
                    </a:lnTo>
                    <a:lnTo>
                      <a:pt x="8" y="228"/>
                    </a:lnTo>
                    <a:lnTo>
                      <a:pt x="9" y="205"/>
                    </a:lnTo>
                    <a:lnTo>
                      <a:pt x="10" y="182"/>
                    </a:lnTo>
                    <a:lnTo>
                      <a:pt x="11" y="159"/>
                    </a:lnTo>
                    <a:lnTo>
                      <a:pt x="13" y="137"/>
                    </a:lnTo>
                    <a:lnTo>
                      <a:pt x="14" y="114"/>
                    </a:lnTo>
                    <a:lnTo>
                      <a:pt x="15" y="91"/>
                    </a:lnTo>
                    <a:lnTo>
                      <a:pt x="16" y="68"/>
                    </a:lnTo>
                    <a:lnTo>
                      <a:pt x="18" y="46"/>
                    </a:lnTo>
                    <a:lnTo>
                      <a:pt x="20" y="23"/>
                    </a:lnTo>
                    <a:lnTo>
                      <a:pt x="21" y="0"/>
                    </a:lnTo>
                    <a:lnTo>
                      <a:pt x="51" y="2"/>
                    </a:lnTo>
                    <a:lnTo>
                      <a:pt x="82" y="4"/>
                    </a:lnTo>
                    <a:lnTo>
                      <a:pt x="113" y="6"/>
                    </a:lnTo>
                    <a:lnTo>
                      <a:pt x="144" y="7"/>
                    </a:lnTo>
                    <a:lnTo>
                      <a:pt x="174" y="10"/>
                    </a:lnTo>
                    <a:lnTo>
                      <a:pt x="206" y="12"/>
                    </a:lnTo>
                    <a:lnTo>
                      <a:pt x="236" y="16"/>
                    </a:lnTo>
                    <a:lnTo>
                      <a:pt x="267" y="18"/>
                    </a:lnTo>
                    <a:lnTo>
                      <a:pt x="298" y="20"/>
                    </a:lnTo>
                    <a:lnTo>
                      <a:pt x="329" y="24"/>
                    </a:lnTo>
                    <a:lnTo>
                      <a:pt x="359" y="26"/>
                    </a:lnTo>
                    <a:lnTo>
                      <a:pt x="390" y="30"/>
                    </a:lnTo>
                    <a:lnTo>
                      <a:pt x="421" y="33"/>
                    </a:lnTo>
                    <a:lnTo>
                      <a:pt x="451" y="35"/>
                    </a:lnTo>
                    <a:lnTo>
                      <a:pt x="483" y="39"/>
                    </a:lnTo>
                    <a:lnTo>
                      <a:pt x="513" y="42"/>
                    </a:lnTo>
                    <a:lnTo>
                      <a:pt x="526" y="45"/>
                    </a:lnTo>
                    <a:lnTo>
                      <a:pt x="528" y="42"/>
                    </a:lnTo>
                    <a:lnTo>
                      <a:pt x="529" y="42"/>
                    </a:lnTo>
                    <a:lnTo>
                      <a:pt x="530" y="41"/>
                    </a:lnTo>
                    <a:lnTo>
                      <a:pt x="532" y="40"/>
                    </a:lnTo>
                    <a:lnTo>
                      <a:pt x="533" y="39"/>
                    </a:lnTo>
                    <a:lnTo>
                      <a:pt x="534" y="35"/>
                    </a:lnTo>
                    <a:lnTo>
                      <a:pt x="535" y="34"/>
                    </a:lnTo>
                    <a:lnTo>
                      <a:pt x="536" y="34"/>
                    </a:lnTo>
                    <a:lnTo>
                      <a:pt x="537" y="34"/>
                    </a:lnTo>
                    <a:lnTo>
                      <a:pt x="539" y="33"/>
                    </a:lnTo>
                    <a:lnTo>
                      <a:pt x="540" y="33"/>
                    </a:lnTo>
                    <a:lnTo>
                      <a:pt x="542" y="32"/>
                    </a:lnTo>
                    <a:lnTo>
                      <a:pt x="542" y="31"/>
                    </a:lnTo>
                    <a:lnTo>
                      <a:pt x="543" y="30"/>
                    </a:lnTo>
                    <a:lnTo>
                      <a:pt x="544" y="30"/>
                    </a:lnTo>
                    <a:lnTo>
                      <a:pt x="546" y="30"/>
                    </a:lnTo>
                    <a:lnTo>
                      <a:pt x="546" y="28"/>
                    </a:lnTo>
                    <a:lnTo>
                      <a:pt x="547" y="28"/>
                    </a:lnTo>
                    <a:lnTo>
                      <a:pt x="554" y="25"/>
                    </a:lnTo>
                    <a:lnTo>
                      <a:pt x="555" y="25"/>
                    </a:lnTo>
                    <a:lnTo>
                      <a:pt x="556" y="25"/>
                    </a:lnTo>
                    <a:lnTo>
                      <a:pt x="557" y="24"/>
                    </a:lnTo>
                    <a:lnTo>
                      <a:pt x="561" y="19"/>
                    </a:lnTo>
                    <a:lnTo>
                      <a:pt x="562" y="18"/>
                    </a:lnTo>
                    <a:lnTo>
                      <a:pt x="568" y="18"/>
                    </a:lnTo>
                    <a:lnTo>
                      <a:pt x="569" y="18"/>
                    </a:lnTo>
                    <a:lnTo>
                      <a:pt x="570" y="19"/>
                    </a:lnTo>
                    <a:lnTo>
                      <a:pt x="570" y="20"/>
                    </a:lnTo>
                    <a:lnTo>
                      <a:pt x="570" y="21"/>
                    </a:lnTo>
                    <a:lnTo>
                      <a:pt x="571" y="21"/>
                    </a:lnTo>
                    <a:lnTo>
                      <a:pt x="573" y="21"/>
                    </a:lnTo>
                    <a:lnTo>
                      <a:pt x="575" y="23"/>
                    </a:lnTo>
                    <a:lnTo>
                      <a:pt x="576" y="24"/>
                    </a:lnTo>
                    <a:lnTo>
                      <a:pt x="577" y="23"/>
                    </a:lnTo>
                    <a:lnTo>
                      <a:pt x="578" y="23"/>
                    </a:lnTo>
                    <a:lnTo>
                      <a:pt x="579" y="23"/>
                    </a:lnTo>
                    <a:lnTo>
                      <a:pt x="586" y="23"/>
                    </a:lnTo>
                    <a:lnTo>
                      <a:pt x="589" y="24"/>
                    </a:lnTo>
                    <a:lnTo>
                      <a:pt x="591" y="24"/>
                    </a:lnTo>
                    <a:lnTo>
                      <a:pt x="592" y="24"/>
                    </a:lnTo>
                    <a:lnTo>
                      <a:pt x="594" y="24"/>
                    </a:lnTo>
                    <a:lnTo>
                      <a:pt x="596" y="24"/>
                    </a:lnTo>
                    <a:lnTo>
                      <a:pt x="598" y="23"/>
                    </a:lnTo>
                    <a:lnTo>
                      <a:pt x="601" y="23"/>
                    </a:lnTo>
                    <a:lnTo>
                      <a:pt x="605" y="21"/>
                    </a:lnTo>
                    <a:lnTo>
                      <a:pt x="606" y="21"/>
                    </a:lnTo>
                    <a:lnTo>
                      <a:pt x="610" y="23"/>
                    </a:lnTo>
                    <a:lnTo>
                      <a:pt x="611" y="23"/>
                    </a:lnTo>
                    <a:lnTo>
                      <a:pt x="612" y="21"/>
                    </a:lnTo>
                    <a:lnTo>
                      <a:pt x="614" y="21"/>
                    </a:lnTo>
                    <a:lnTo>
                      <a:pt x="615" y="23"/>
                    </a:lnTo>
                    <a:lnTo>
                      <a:pt x="618" y="25"/>
                    </a:lnTo>
                    <a:lnTo>
                      <a:pt x="620" y="28"/>
                    </a:lnTo>
                    <a:lnTo>
                      <a:pt x="622" y="31"/>
                    </a:lnTo>
                    <a:lnTo>
                      <a:pt x="625" y="32"/>
                    </a:lnTo>
                    <a:lnTo>
                      <a:pt x="633" y="33"/>
                    </a:lnTo>
                    <a:lnTo>
                      <a:pt x="636" y="33"/>
                    </a:lnTo>
                    <a:lnTo>
                      <a:pt x="642" y="33"/>
                    </a:lnTo>
                    <a:lnTo>
                      <a:pt x="644" y="33"/>
                    </a:lnTo>
                    <a:lnTo>
                      <a:pt x="647" y="34"/>
                    </a:lnTo>
                    <a:lnTo>
                      <a:pt x="649" y="35"/>
                    </a:lnTo>
                    <a:lnTo>
                      <a:pt x="650" y="37"/>
                    </a:lnTo>
                    <a:lnTo>
                      <a:pt x="653" y="38"/>
                    </a:lnTo>
                    <a:lnTo>
                      <a:pt x="654" y="39"/>
                    </a:lnTo>
                    <a:lnTo>
                      <a:pt x="654" y="40"/>
                    </a:lnTo>
                    <a:lnTo>
                      <a:pt x="655" y="41"/>
                    </a:lnTo>
                    <a:lnTo>
                      <a:pt x="656" y="41"/>
                    </a:lnTo>
                    <a:lnTo>
                      <a:pt x="658" y="41"/>
                    </a:lnTo>
                    <a:lnTo>
                      <a:pt x="660" y="42"/>
                    </a:lnTo>
                    <a:lnTo>
                      <a:pt x="660" y="44"/>
                    </a:lnTo>
                    <a:lnTo>
                      <a:pt x="660" y="46"/>
                    </a:lnTo>
                    <a:lnTo>
                      <a:pt x="660" y="48"/>
                    </a:lnTo>
                    <a:lnTo>
                      <a:pt x="660" y="49"/>
                    </a:lnTo>
                    <a:lnTo>
                      <a:pt x="662" y="51"/>
                    </a:lnTo>
                    <a:lnTo>
                      <a:pt x="664" y="51"/>
                    </a:lnTo>
                    <a:lnTo>
                      <a:pt x="665" y="51"/>
                    </a:lnTo>
                    <a:lnTo>
                      <a:pt x="667" y="52"/>
                    </a:lnTo>
                    <a:lnTo>
                      <a:pt x="669" y="54"/>
                    </a:lnTo>
                    <a:lnTo>
                      <a:pt x="672" y="58"/>
                    </a:lnTo>
                    <a:lnTo>
                      <a:pt x="672" y="62"/>
                    </a:lnTo>
                    <a:lnTo>
                      <a:pt x="674" y="63"/>
                    </a:lnTo>
                    <a:lnTo>
                      <a:pt x="672" y="65"/>
                    </a:lnTo>
                    <a:lnTo>
                      <a:pt x="672" y="66"/>
                    </a:lnTo>
                    <a:lnTo>
                      <a:pt x="672" y="68"/>
                    </a:lnTo>
                    <a:lnTo>
                      <a:pt x="672" y="70"/>
                    </a:lnTo>
                    <a:lnTo>
                      <a:pt x="672" y="72"/>
                    </a:lnTo>
                    <a:lnTo>
                      <a:pt x="674" y="72"/>
                    </a:lnTo>
                    <a:lnTo>
                      <a:pt x="674" y="73"/>
                    </a:lnTo>
                    <a:lnTo>
                      <a:pt x="674" y="74"/>
                    </a:lnTo>
                    <a:lnTo>
                      <a:pt x="674" y="75"/>
                    </a:lnTo>
                    <a:lnTo>
                      <a:pt x="675" y="76"/>
                    </a:lnTo>
                    <a:lnTo>
                      <a:pt x="676" y="76"/>
                    </a:lnTo>
                    <a:lnTo>
                      <a:pt x="677" y="76"/>
                    </a:lnTo>
                    <a:lnTo>
                      <a:pt x="678" y="75"/>
                    </a:lnTo>
                    <a:lnTo>
                      <a:pt x="679" y="75"/>
                    </a:lnTo>
                    <a:lnTo>
                      <a:pt x="679" y="74"/>
                    </a:lnTo>
                    <a:lnTo>
                      <a:pt x="681" y="74"/>
                    </a:lnTo>
                    <a:lnTo>
                      <a:pt x="682" y="74"/>
                    </a:lnTo>
                    <a:lnTo>
                      <a:pt x="682" y="73"/>
                    </a:lnTo>
                    <a:lnTo>
                      <a:pt x="683" y="72"/>
                    </a:lnTo>
                    <a:lnTo>
                      <a:pt x="684" y="70"/>
                    </a:lnTo>
                    <a:lnTo>
                      <a:pt x="685" y="70"/>
                    </a:lnTo>
                    <a:lnTo>
                      <a:pt x="686" y="69"/>
                    </a:lnTo>
                    <a:lnTo>
                      <a:pt x="686" y="67"/>
                    </a:lnTo>
                    <a:lnTo>
                      <a:pt x="686" y="66"/>
                    </a:lnTo>
                    <a:lnTo>
                      <a:pt x="689" y="63"/>
                    </a:lnTo>
                    <a:lnTo>
                      <a:pt x="689" y="62"/>
                    </a:lnTo>
                    <a:lnTo>
                      <a:pt x="690" y="62"/>
                    </a:lnTo>
                    <a:lnTo>
                      <a:pt x="691" y="62"/>
                    </a:lnTo>
                    <a:lnTo>
                      <a:pt x="692" y="62"/>
                    </a:lnTo>
                    <a:lnTo>
                      <a:pt x="693" y="61"/>
                    </a:lnTo>
                    <a:lnTo>
                      <a:pt x="695" y="61"/>
                    </a:lnTo>
                    <a:lnTo>
                      <a:pt x="696" y="61"/>
                    </a:lnTo>
                    <a:lnTo>
                      <a:pt x="697" y="61"/>
                    </a:lnTo>
                    <a:lnTo>
                      <a:pt x="699" y="60"/>
                    </a:lnTo>
                    <a:lnTo>
                      <a:pt x="700" y="59"/>
                    </a:lnTo>
                    <a:lnTo>
                      <a:pt x="703" y="63"/>
                    </a:lnTo>
                    <a:lnTo>
                      <a:pt x="703" y="65"/>
                    </a:lnTo>
                    <a:lnTo>
                      <a:pt x="704" y="65"/>
                    </a:lnTo>
                    <a:lnTo>
                      <a:pt x="705" y="65"/>
                    </a:lnTo>
                    <a:lnTo>
                      <a:pt x="705" y="66"/>
                    </a:lnTo>
                    <a:lnTo>
                      <a:pt x="706" y="66"/>
                    </a:lnTo>
                    <a:lnTo>
                      <a:pt x="707" y="63"/>
                    </a:lnTo>
                    <a:lnTo>
                      <a:pt x="708" y="62"/>
                    </a:lnTo>
                    <a:lnTo>
                      <a:pt x="710" y="62"/>
                    </a:lnTo>
                    <a:lnTo>
                      <a:pt x="711" y="63"/>
                    </a:lnTo>
                    <a:lnTo>
                      <a:pt x="712" y="63"/>
                    </a:lnTo>
                    <a:lnTo>
                      <a:pt x="713" y="63"/>
                    </a:lnTo>
                    <a:lnTo>
                      <a:pt x="715" y="63"/>
                    </a:lnTo>
                    <a:lnTo>
                      <a:pt x="717" y="62"/>
                    </a:lnTo>
                    <a:lnTo>
                      <a:pt x="718" y="63"/>
                    </a:lnTo>
                    <a:lnTo>
                      <a:pt x="718" y="62"/>
                    </a:lnTo>
                    <a:lnTo>
                      <a:pt x="719" y="62"/>
                    </a:lnTo>
                    <a:lnTo>
                      <a:pt x="719" y="61"/>
                    </a:lnTo>
                    <a:lnTo>
                      <a:pt x="720" y="61"/>
                    </a:lnTo>
                    <a:lnTo>
                      <a:pt x="720" y="59"/>
                    </a:lnTo>
                    <a:lnTo>
                      <a:pt x="721" y="58"/>
                    </a:lnTo>
                    <a:lnTo>
                      <a:pt x="721" y="56"/>
                    </a:lnTo>
                    <a:lnTo>
                      <a:pt x="721" y="55"/>
                    </a:lnTo>
                    <a:lnTo>
                      <a:pt x="721" y="54"/>
                    </a:lnTo>
                    <a:lnTo>
                      <a:pt x="722" y="52"/>
                    </a:lnTo>
                    <a:lnTo>
                      <a:pt x="722" y="51"/>
                    </a:lnTo>
                    <a:lnTo>
                      <a:pt x="724" y="49"/>
                    </a:lnTo>
                    <a:lnTo>
                      <a:pt x="724" y="48"/>
                    </a:lnTo>
                    <a:lnTo>
                      <a:pt x="722" y="46"/>
                    </a:lnTo>
                    <a:lnTo>
                      <a:pt x="721" y="44"/>
                    </a:lnTo>
                    <a:lnTo>
                      <a:pt x="720" y="44"/>
                    </a:lnTo>
                    <a:lnTo>
                      <a:pt x="720" y="42"/>
                    </a:lnTo>
                    <a:lnTo>
                      <a:pt x="720" y="41"/>
                    </a:lnTo>
                    <a:lnTo>
                      <a:pt x="720" y="40"/>
                    </a:lnTo>
                    <a:lnTo>
                      <a:pt x="719" y="38"/>
                    </a:lnTo>
                    <a:lnTo>
                      <a:pt x="719" y="37"/>
                    </a:lnTo>
                    <a:lnTo>
                      <a:pt x="720" y="35"/>
                    </a:lnTo>
                    <a:lnTo>
                      <a:pt x="721" y="35"/>
                    </a:lnTo>
                    <a:lnTo>
                      <a:pt x="722" y="35"/>
                    </a:lnTo>
                    <a:lnTo>
                      <a:pt x="724" y="34"/>
                    </a:lnTo>
                    <a:lnTo>
                      <a:pt x="725" y="34"/>
                    </a:lnTo>
                    <a:lnTo>
                      <a:pt x="725" y="33"/>
                    </a:lnTo>
                    <a:lnTo>
                      <a:pt x="733" y="31"/>
                    </a:lnTo>
                    <a:lnTo>
                      <a:pt x="734" y="31"/>
                    </a:lnTo>
                    <a:lnTo>
                      <a:pt x="736" y="31"/>
                    </a:lnTo>
                    <a:lnTo>
                      <a:pt x="738" y="31"/>
                    </a:lnTo>
                    <a:lnTo>
                      <a:pt x="739" y="31"/>
                    </a:lnTo>
                    <a:lnTo>
                      <a:pt x="740" y="30"/>
                    </a:lnTo>
                    <a:lnTo>
                      <a:pt x="741" y="28"/>
                    </a:lnTo>
                    <a:lnTo>
                      <a:pt x="742" y="28"/>
                    </a:lnTo>
                    <a:lnTo>
                      <a:pt x="743" y="28"/>
                    </a:lnTo>
                    <a:lnTo>
                      <a:pt x="746" y="28"/>
                    </a:lnTo>
                    <a:lnTo>
                      <a:pt x="748" y="27"/>
                    </a:lnTo>
                    <a:lnTo>
                      <a:pt x="749" y="27"/>
                    </a:lnTo>
                    <a:lnTo>
                      <a:pt x="749" y="26"/>
                    </a:lnTo>
                    <a:lnTo>
                      <a:pt x="752" y="24"/>
                    </a:lnTo>
                    <a:lnTo>
                      <a:pt x="753" y="24"/>
                    </a:lnTo>
                    <a:lnTo>
                      <a:pt x="755" y="21"/>
                    </a:lnTo>
                    <a:lnTo>
                      <a:pt x="756" y="21"/>
                    </a:lnTo>
                    <a:lnTo>
                      <a:pt x="757" y="23"/>
                    </a:lnTo>
                    <a:lnTo>
                      <a:pt x="759" y="24"/>
                    </a:lnTo>
                    <a:lnTo>
                      <a:pt x="757" y="25"/>
                    </a:lnTo>
                    <a:lnTo>
                      <a:pt x="759" y="26"/>
                    </a:lnTo>
                    <a:lnTo>
                      <a:pt x="760" y="27"/>
                    </a:lnTo>
                    <a:lnTo>
                      <a:pt x="761" y="27"/>
                    </a:lnTo>
                    <a:lnTo>
                      <a:pt x="762" y="26"/>
                    </a:lnTo>
                    <a:lnTo>
                      <a:pt x="762" y="25"/>
                    </a:lnTo>
                    <a:lnTo>
                      <a:pt x="763" y="25"/>
                    </a:lnTo>
                    <a:lnTo>
                      <a:pt x="764" y="26"/>
                    </a:lnTo>
                    <a:lnTo>
                      <a:pt x="765" y="27"/>
                    </a:lnTo>
                    <a:lnTo>
                      <a:pt x="771" y="31"/>
                    </a:lnTo>
                    <a:lnTo>
                      <a:pt x="772" y="31"/>
                    </a:lnTo>
                    <a:lnTo>
                      <a:pt x="774" y="31"/>
                    </a:lnTo>
                    <a:lnTo>
                      <a:pt x="776" y="31"/>
                    </a:lnTo>
                    <a:lnTo>
                      <a:pt x="776" y="30"/>
                    </a:lnTo>
                    <a:lnTo>
                      <a:pt x="777" y="30"/>
                    </a:lnTo>
                    <a:lnTo>
                      <a:pt x="778" y="30"/>
                    </a:lnTo>
                    <a:lnTo>
                      <a:pt x="779" y="30"/>
                    </a:lnTo>
                    <a:lnTo>
                      <a:pt x="781" y="30"/>
                    </a:lnTo>
                    <a:lnTo>
                      <a:pt x="783" y="31"/>
                    </a:lnTo>
                    <a:lnTo>
                      <a:pt x="786" y="32"/>
                    </a:lnTo>
                    <a:lnTo>
                      <a:pt x="788" y="32"/>
                    </a:lnTo>
                    <a:lnTo>
                      <a:pt x="791" y="33"/>
                    </a:lnTo>
                    <a:lnTo>
                      <a:pt x="792" y="33"/>
                    </a:lnTo>
                    <a:lnTo>
                      <a:pt x="793" y="34"/>
                    </a:lnTo>
                    <a:lnTo>
                      <a:pt x="795" y="33"/>
                    </a:lnTo>
                    <a:lnTo>
                      <a:pt x="796" y="33"/>
                    </a:lnTo>
                    <a:lnTo>
                      <a:pt x="797" y="31"/>
                    </a:lnTo>
                    <a:lnTo>
                      <a:pt x="798" y="31"/>
                    </a:lnTo>
                    <a:lnTo>
                      <a:pt x="798" y="30"/>
                    </a:lnTo>
                    <a:lnTo>
                      <a:pt x="799" y="28"/>
                    </a:lnTo>
                    <a:lnTo>
                      <a:pt x="800" y="27"/>
                    </a:lnTo>
                    <a:lnTo>
                      <a:pt x="802" y="28"/>
                    </a:lnTo>
                    <a:lnTo>
                      <a:pt x="803" y="28"/>
                    </a:lnTo>
                    <a:lnTo>
                      <a:pt x="807" y="27"/>
                    </a:lnTo>
                    <a:lnTo>
                      <a:pt x="809" y="28"/>
                    </a:lnTo>
                    <a:lnTo>
                      <a:pt x="810" y="28"/>
                    </a:lnTo>
                    <a:lnTo>
                      <a:pt x="812" y="28"/>
                    </a:lnTo>
                    <a:lnTo>
                      <a:pt x="819" y="25"/>
                    </a:lnTo>
                    <a:lnTo>
                      <a:pt x="821" y="23"/>
                    </a:lnTo>
                    <a:lnTo>
                      <a:pt x="823" y="25"/>
                    </a:lnTo>
                    <a:lnTo>
                      <a:pt x="824" y="25"/>
                    </a:lnTo>
                    <a:lnTo>
                      <a:pt x="825" y="27"/>
                    </a:lnTo>
                    <a:lnTo>
                      <a:pt x="825" y="31"/>
                    </a:lnTo>
                    <a:lnTo>
                      <a:pt x="825" y="32"/>
                    </a:lnTo>
                    <a:lnTo>
                      <a:pt x="825" y="35"/>
                    </a:lnTo>
                    <a:lnTo>
                      <a:pt x="821" y="46"/>
                    </a:lnTo>
                    <a:lnTo>
                      <a:pt x="820" y="49"/>
                    </a:lnTo>
                    <a:lnTo>
                      <a:pt x="820" y="55"/>
                    </a:lnTo>
                    <a:lnTo>
                      <a:pt x="821" y="56"/>
                    </a:lnTo>
                    <a:lnTo>
                      <a:pt x="823" y="60"/>
                    </a:lnTo>
                    <a:lnTo>
                      <a:pt x="823" y="61"/>
                    </a:lnTo>
                    <a:lnTo>
                      <a:pt x="823" y="62"/>
                    </a:lnTo>
                    <a:lnTo>
                      <a:pt x="821" y="63"/>
                    </a:lnTo>
                    <a:lnTo>
                      <a:pt x="821" y="65"/>
                    </a:lnTo>
                    <a:lnTo>
                      <a:pt x="821" y="66"/>
                    </a:lnTo>
                    <a:lnTo>
                      <a:pt x="820" y="68"/>
                    </a:lnTo>
                    <a:lnTo>
                      <a:pt x="820" y="69"/>
                    </a:lnTo>
                    <a:lnTo>
                      <a:pt x="820" y="73"/>
                    </a:lnTo>
                    <a:lnTo>
                      <a:pt x="819" y="75"/>
                    </a:lnTo>
                    <a:lnTo>
                      <a:pt x="818" y="77"/>
                    </a:lnTo>
                    <a:lnTo>
                      <a:pt x="813" y="80"/>
                    </a:lnTo>
                    <a:lnTo>
                      <a:pt x="810" y="83"/>
                    </a:lnTo>
                    <a:lnTo>
                      <a:pt x="807" y="86"/>
                    </a:lnTo>
                    <a:lnTo>
                      <a:pt x="806" y="89"/>
                    </a:lnTo>
                    <a:lnTo>
                      <a:pt x="806" y="90"/>
                    </a:lnTo>
                    <a:lnTo>
                      <a:pt x="806" y="94"/>
                    </a:lnTo>
                    <a:lnTo>
                      <a:pt x="806" y="95"/>
                    </a:lnTo>
                    <a:lnTo>
                      <a:pt x="804" y="95"/>
                    </a:lnTo>
                    <a:lnTo>
                      <a:pt x="804" y="96"/>
                    </a:lnTo>
                    <a:lnTo>
                      <a:pt x="800" y="100"/>
                    </a:lnTo>
                    <a:lnTo>
                      <a:pt x="798" y="103"/>
                    </a:lnTo>
                    <a:lnTo>
                      <a:pt x="797" y="105"/>
                    </a:lnTo>
                    <a:lnTo>
                      <a:pt x="798" y="108"/>
                    </a:lnTo>
                    <a:lnTo>
                      <a:pt x="798" y="110"/>
                    </a:lnTo>
                    <a:lnTo>
                      <a:pt x="798" y="111"/>
                    </a:lnTo>
                    <a:lnTo>
                      <a:pt x="798" y="112"/>
                    </a:lnTo>
                    <a:lnTo>
                      <a:pt x="797" y="112"/>
                    </a:lnTo>
                    <a:lnTo>
                      <a:pt x="797" y="115"/>
                    </a:lnTo>
                    <a:lnTo>
                      <a:pt x="797" y="116"/>
                    </a:lnTo>
                    <a:lnTo>
                      <a:pt x="796" y="117"/>
                    </a:lnTo>
                    <a:lnTo>
                      <a:pt x="796" y="121"/>
                    </a:lnTo>
                    <a:lnTo>
                      <a:pt x="793" y="123"/>
                    </a:lnTo>
                    <a:lnTo>
                      <a:pt x="793" y="125"/>
                    </a:lnTo>
                    <a:lnTo>
                      <a:pt x="793" y="126"/>
                    </a:lnTo>
                    <a:lnTo>
                      <a:pt x="792" y="128"/>
                    </a:lnTo>
                    <a:lnTo>
                      <a:pt x="792" y="130"/>
                    </a:lnTo>
                    <a:lnTo>
                      <a:pt x="792" y="131"/>
                    </a:lnTo>
                    <a:lnTo>
                      <a:pt x="792" y="132"/>
                    </a:lnTo>
                    <a:lnTo>
                      <a:pt x="790" y="135"/>
                    </a:lnTo>
                    <a:lnTo>
                      <a:pt x="790" y="136"/>
                    </a:lnTo>
                    <a:lnTo>
                      <a:pt x="789" y="137"/>
                    </a:lnTo>
                    <a:lnTo>
                      <a:pt x="789" y="138"/>
                    </a:lnTo>
                    <a:lnTo>
                      <a:pt x="789" y="142"/>
                    </a:lnTo>
                    <a:lnTo>
                      <a:pt x="788" y="143"/>
                    </a:lnTo>
                    <a:lnTo>
                      <a:pt x="786" y="146"/>
                    </a:lnTo>
                    <a:lnTo>
                      <a:pt x="786" y="147"/>
                    </a:lnTo>
                    <a:lnTo>
                      <a:pt x="785" y="150"/>
                    </a:lnTo>
                    <a:lnTo>
                      <a:pt x="783" y="152"/>
                    </a:lnTo>
                    <a:lnTo>
                      <a:pt x="783" y="153"/>
                    </a:lnTo>
                    <a:lnTo>
                      <a:pt x="782" y="153"/>
                    </a:lnTo>
                    <a:lnTo>
                      <a:pt x="781" y="154"/>
                    </a:lnTo>
                    <a:lnTo>
                      <a:pt x="781" y="156"/>
                    </a:lnTo>
                    <a:lnTo>
                      <a:pt x="781" y="158"/>
                    </a:lnTo>
                    <a:lnTo>
                      <a:pt x="779" y="163"/>
                    </a:lnTo>
                    <a:lnTo>
                      <a:pt x="778" y="165"/>
                    </a:lnTo>
                    <a:lnTo>
                      <a:pt x="775" y="171"/>
                    </a:lnTo>
                    <a:lnTo>
                      <a:pt x="775" y="173"/>
                    </a:lnTo>
                    <a:lnTo>
                      <a:pt x="774" y="175"/>
                    </a:lnTo>
                    <a:lnTo>
                      <a:pt x="770" y="180"/>
                    </a:lnTo>
                    <a:lnTo>
                      <a:pt x="769" y="181"/>
                    </a:lnTo>
                    <a:lnTo>
                      <a:pt x="769" y="182"/>
                    </a:lnTo>
                    <a:lnTo>
                      <a:pt x="767" y="185"/>
                    </a:lnTo>
                    <a:lnTo>
                      <a:pt x="765" y="187"/>
                    </a:lnTo>
                    <a:lnTo>
                      <a:pt x="764" y="193"/>
                    </a:lnTo>
                    <a:lnTo>
                      <a:pt x="763" y="196"/>
                    </a:lnTo>
                    <a:lnTo>
                      <a:pt x="762" y="198"/>
                    </a:lnTo>
                    <a:lnTo>
                      <a:pt x="760" y="203"/>
                    </a:lnTo>
                    <a:lnTo>
                      <a:pt x="761" y="205"/>
                    </a:lnTo>
                    <a:lnTo>
                      <a:pt x="760" y="210"/>
                    </a:lnTo>
                    <a:lnTo>
                      <a:pt x="761" y="214"/>
                    </a:lnTo>
                    <a:lnTo>
                      <a:pt x="761" y="215"/>
                    </a:lnTo>
                    <a:lnTo>
                      <a:pt x="762" y="215"/>
                    </a:lnTo>
                    <a:lnTo>
                      <a:pt x="763" y="215"/>
                    </a:lnTo>
                    <a:lnTo>
                      <a:pt x="764" y="215"/>
                    </a:lnTo>
                    <a:lnTo>
                      <a:pt x="764" y="216"/>
                    </a:lnTo>
                    <a:lnTo>
                      <a:pt x="764" y="219"/>
                    </a:lnTo>
                    <a:lnTo>
                      <a:pt x="763" y="220"/>
                    </a:lnTo>
                    <a:lnTo>
                      <a:pt x="762" y="220"/>
                    </a:lnTo>
                    <a:lnTo>
                      <a:pt x="761" y="222"/>
                    </a:lnTo>
                    <a:lnTo>
                      <a:pt x="760" y="226"/>
                    </a:lnTo>
                    <a:lnTo>
                      <a:pt x="760" y="227"/>
                    </a:lnTo>
                    <a:lnTo>
                      <a:pt x="761" y="227"/>
                    </a:lnTo>
                    <a:lnTo>
                      <a:pt x="761" y="228"/>
                    </a:lnTo>
                    <a:lnTo>
                      <a:pt x="761" y="229"/>
                    </a:lnTo>
                    <a:lnTo>
                      <a:pt x="760" y="229"/>
                    </a:lnTo>
                    <a:lnTo>
                      <a:pt x="757" y="231"/>
                    </a:lnTo>
                    <a:lnTo>
                      <a:pt x="755" y="235"/>
                    </a:lnTo>
                    <a:lnTo>
                      <a:pt x="754" y="237"/>
                    </a:lnTo>
                    <a:lnTo>
                      <a:pt x="753" y="240"/>
                    </a:lnTo>
                    <a:lnTo>
                      <a:pt x="753" y="241"/>
                    </a:lnTo>
                    <a:lnTo>
                      <a:pt x="753" y="245"/>
                    </a:lnTo>
                    <a:lnTo>
                      <a:pt x="749" y="248"/>
                    </a:lnTo>
                    <a:lnTo>
                      <a:pt x="748" y="250"/>
                    </a:lnTo>
                    <a:lnTo>
                      <a:pt x="748" y="252"/>
                    </a:lnTo>
                    <a:lnTo>
                      <a:pt x="749" y="254"/>
                    </a:lnTo>
                    <a:lnTo>
                      <a:pt x="749" y="255"/>
                    </a:lnTo>
                    <a:lnTo>
                      <a:pt x="748" y="257"/>
                    </a:lnTo>
                    <a:lnTo>
                      <a:pt x="747" y="258"/>
                    </a:lnTo>
                    <a:lnTo>
                      <a:pt x="745" y="259"/>
                    </a:lnTo>
                    <a:lnTo>
                      <a:pt x="742" y="262"/>
                    </a:lnTo>
                    <a:lnTo>
                      <a:pt x="742" y="264"/>
                    </a:lnTo>
                    <a:lnTo>
                      <a:pt x="741" y="266"/>
                    </a:lnTo>
                    <a:lnTo>
                      <a:pt x="741" y="268"/>
                    </a:lnTo>
                    <a:lnTo>
                      <a:pt x="740" y="269"/>
                    </a:lnTo>
                    <a:lnTo>
                      <a:pt x="739" y="270"/>
                    </a:lnTo>
                    <a:lnTo>
                      <a:pt x="738" y="271"/>
                    </a:lnTo>
                    <a:lnTo>
                      <a:pt x="738" y="272"/>
                    </a:lnTo>
                    <a:lnTo>
                      <a:pt x="738" y="273"/>
                    </a:lnTo>
                    <a:lnTo>
                      <a:pt x="735" y="275"/>
                    </a:lnTo>
                    <a:lnTo>
                      <a:pt x="733" y="277"/>
                    </a:lnTo>
                    <a:lnTo>
                      <a:pt x="733" y="279"/>
                    </a:lnTo>
                    <a:lnTo>
                      <a:pt x="733" y="280"/>
                    </a:lnTo>
                    <a:lnTo>
                      <a:pt x="731" y="282"/>
                    </a:lnTo>
                    <a:lnTo>
                      <a:pt x="729" y="284"/>
                    </a:lnTo>
                    <a:lnTo>
                      <a:pt x="727" y="285"/>
                    </a:lnTo>
                    <a:lnTo>
                      <a:pt x="724" y="287"/>
                    </a:lnTo>
                    <a:lnTo>
                      <a:pt x="719" y="293"/>
                    </a:lnTo>
                    <a:lnTo>
                      <a:pt x="719" y="295"/>
                    </a:lnTo>
                    <a:lnTo>
                      <a:pt x="717" y="297"/>
                    </a:lnTo>
                    <a:lnTo>
                      <a:pt x="717" y="298"/>
                    </a:lnTo>
                    <a:lnTo>
                      <a:pt x="715" y="300"/>
                    </a:lnTo>
                    <a:lnTo>
                      <a:pt x="715" y="301"/>
                    </a:lnTo>
                    <a:lnTo>
                      <a:pt x="715" y="302"/>
                    </a:lnTo>
                    <a:lnTo>
                      <a:pt x="717" y="304"/>
                    </a:lnTo>
                    <a:lnTo>
                      <a:pt x="717" y="305"/>
                    </a:lnTo>
                    <a:lnTo>
                      <a:pt x="718" y="305"/>
                    </a:lnTo>
                    <a:lnTo>
                      <a:pt x="718" y="306"/>
                    </a:lnTo>
                    <a:lnTo>
                      <a:pt x="718" y="307"/>
                    </a:lnTo>
                    <a:lnTo>
                      <a:pt x="717" y="308"/>
                    </a:lnTo>
                    <a:lnTo>
                      <a:pt x="715" y="309"/>
                    </a:lnTo>
                    <a:lnTo>
                      <a:pt x="714" y="311"/>
                    </a:lnTo>
                    <a:lnTo>
                      <a:pt x="714" y="312"/>
                    </a:lnTo>
                    <a:lnTo>
                      <a:pt x="714" y="313"/>
                    </a:lnTo>
                    <a:lnTo>
                      <a:pt x="715" y="313"/>
                    </a:lnTo>
                    <a:lnTo>
                      <a:pt x="717" y="313"/>
                    </a:lnTo>
                    <a:lnTo>
                      <a:pt x="715" y="314"/>
                    </a:lnTo>
                    <a:lnTo>
                      <a:pt x="715" y="315"/>
                    </a:lnTo>
                    <a:lnTo>
                      <a:pt x="714" y="315"/>
                    </a:lnTo>
                    <a:lnTo>
                      <a:pt x="714" y="316"/>
                    </a:lnTo>
                    <a:lnTo>
                      <a:pt x="713" y="318"/>
                    </a:lnTo>
                    <a:lnTo>
                      <a:pt x="713" y="320"/>
                    </a:lnTo>
                    <a:lnTo>
                      <a:pt x="713" y="321"/>
                    </a:lnTo>
                    <a:lnTo>
                      <a:pt x="714" y="322"/>
                    </a:lnTo>
                    <a:lnTo>
                      <a:pt x="705" y="325"/>
                    </a:lnTo>
                    <a:lnTo>
                      <a:pt x="701" y="326"/>
                    </a:lnTo>
                    <a:lnTo>
                      <a:pt x="698" y="328"/>
                    </a:lnTo>
                    <a:lnTo>
                      <a:pt x="697" y="330"/>
                    </a:lnTo>
                    <a:lnTo>
                      <a:pt x="696" y="330"/>
                    </a:lnTo>
                    <a:lnTo>
                      <a:pt x="693" y="332"/>
                    </a:lnTo>
                    <a:lnTo>
                      <a:pt x="692" y="333"/>
                    </a:lnTo>
                    <a:lnTo>
                      <a:pt x="691" y="334"/>
                    </a:lnTo>
                    <a:lnTo>
                      <a:pt x="690" y="335"/>
                    </a:lnTo>
                    <a:lnTo>
                      <a:pt x="691" y="336"/>
                    </a:lnTo>
                    <a:lnTo>
                      <a:pt x="692" y="337"/>
                    </a:lnTo>
                    <a:lnTo>
                      <a:pt x="691" y="337"/>
                    </a:lnTo>
                    <a:lnTo>
                      <a:pt x="690" y="336"/>
                    </a:lnTo>
                    <a:lnTo>
                      <a:pt x="689" y="336"/>
                    </a:lnTo>
                    <a:lnTo>
                      <a:pt x="688" y="335"/>
                    </a:lnTo>
                    <a:lnTo>
                      <a:pt x="688" y="334"/>
                    </a:lnTo>
                    <a:lnTo>
                      <a:pt x="688" y="335"/>
                    </a:lnTo>
                    <a:lnTo>
                      <a:pt x="685" y="335"/>
                    </a:lnTo>
                    <a:lnTo>
                      <a:pt x="682" y="336"/>
                    </a:lnTo>
                    <a:lnTo>
                      <a:pt x="684" y="337"/>
                    </a:lnTo>
                    <a:lnTo>
                      <a:pt x="689" y="339"/>
                    </a:lnTo>
                    <a:lnTo>
                      <a:pt x="690" y="340"/>
                    </a:lnTo>
                    <a:lnTo>
                      <a:pt x="690" y="342"/>
                    </a:lnTo>
                    <a:lnTo>
                      <a:pt x="689" y="342"/>
                    </a:lnTo>
                    <a:lnTo>
                      <a:pt x="686" y="342"/>
                    </a:lnTo>
                    <a:lnTo>
                      <a:pt x="685" y="343"/>
                    </a:lnTo>
                    <a:lnTo>
                      <a:pt x="684" y="343"/>
                    </a:lnTo>
                    <a:lnTo>
                      <a:pt x="681" y="342"/>
                    </a:lnTo>
                    <a:lnTo>
                      <a:pt x="676" y="343"/>
                    </a:lnTo>
                    <a:lnTo>
                      <a:pt x="674" y="343"/>
                    </a:lnTo>
                    <a:lnTo>
                      <a:pt x="669" y="344"/>
                    </a:lnTo>
                    <a:lnTo>
                      <a:pt x="668" y="346"/>
                    </a:lnTo>
                    <a:lnTo>
                      <a:pt x="667" y="347"/>
                    </a:lnTo>
                    <a:lnTo>
                      <a:pt x="664" y="348"/>
                    </a:lnTo>
                    <a:lnTo>
                      <a:pt x="664" y="350"/>
                    </a:lnTo>
                    <a:lnTo>
                      <a:pt x="663" y="350"/>
                    </a:lnTo>
                    <a:lnTo>
                      <a:pt x="662" y="351"/>
                    </a:lnTo>
                    <a:lnTo>
                      <a:pt x="661" y="353"/>
                    </a:lnTo>
                    <a:lnTo>
                      <a:pt x="660" y="353"/>
                    </a:lnTo>
                    <a:lnTo>
                      <a:pt x="660" y="355"/>
                    </a:lnTo>
                    <a:lnTo>
                      <a:pt x="658" y="356"/>
                    </a:lnTo>
                    <a:lnTo>
                      <a:pt x="657" y="357"/>
                    </a:lnTo>
                    <a:lnTo>
                      <a:pt x="655" y="358"/>
                    </a:lnTo>
                    <a:lnTo>
                      <a:pt x="654" y="360"/>
                    </a:lnTo>
                    <a:lnTo>
                      <a:pt x="654" y="361"/>
                    </a:lnTo>
                    <a:lnTo>
                      <a:pt x="653" y="362"/>
                    </a:lnTo>
                    <a:lnTo>
                      <a:pt x="653" y="364"/>
                    </a:lnTo>
                    <a:lnTo>
                      <a:pt x="651" y="365"/>
                    </a:lnTo>
                    <a:lnTo>
                      <a:pt x="651" y="367"/>
                    </a:lnTo>
                    <a:lnTo>
                      <a:pt x="650" y="368"/>
                    </a:lnTo>
                    <a:lnTo>
                      <a:pt x="649" y="369"/>
                    </a:lnTo>
                    <a:lnTo>
                      <a:pt x="648" y="370"/>
                    </a:lnTo>
                    <a:lnTo>
                      <a:pt x="647" y="371"/>
                    </a:lnTo>
                    <a:lnTo>
                      <a:pt x="646" y="372"/>
                    </a:lnTo>
                    <a:lnTo>
                      <a:pt x="647" y="375"/>
                    </a:lnTo>
                    <a:lnTo>
                      <a:pt x="646" y="375"/>
                    </a:lnTo>
                    <a:lnTo>
                      <a:pt x="643" y="376"/>
                    </a:lnTo>
                    <a:lnTo>
                      <a:pt x="642" y="377"/>
                    </a:lnTo>
                    <a:lnTo>
                      <a:pt x="642" y="376"/>
                    </a:lnTo>
                    <a:lnTo>
                      <a:pt x="643" y="375"/>
                    </a:lnTo>
                    <a:lnTo>
                      <a:pt x="644" y="374"/>
                    </a:lnTo>
                    <a:lnTo>
                      <a:pt x="643" y="372"/>
                    </a:lnTo>
                    <a:lnTo>
                      <a:pt x="642" y="372"/>
                    </a:lnTo>
                    <a:lnTo>
                      <a:pt x="639" y="375"/>
                    </a:lnTo>
                    <a:lnTo>
                      <a:pt x="640" y="377"/>
                    </a:lnTo>
                    <a:lnTo>
                      <a:pt x="639" y="377"/>
                    </a:lnTo>
                    <a:lnTo>
                      <a:pt x="637" y="377"/>
                    </a:lnTo>
                    <a:lnTo>
                      <a:pt x="639" y="378"/>
                    </a:lnTo>
                    <a:lnTo>
                      <a:pt x="640" y="379"/>
                    </a:lnTo>
                    <a:lnTo>
                      <a:pt x="641" y="378"/>
                    </a:lnTo>
                    <a:lnTo>
                      <a:pt x="641" y="377"/>
                    </a:lnTo>
                    <a:lnTo>
                      <a:pt x="642" y="378"/>
                    </a:lnTo>
                    <a:lnTo>
                      <a:pt x="641" y="379"/>
                    </a:lnTo>
                    <a:lnTo>
                      <a:pt x="641" y="381"/>
                    </a:lnTo>
                    <a:lnTo>
                      <a:pt x="640" y="382"/>
                    </a:lnTo>
                    <a:lnTo>
                      <a:pt x="639" y="383"/>
                    </a:lnTo>
                    <a:lnTo>
                      <a:pt x="637" y="384"/>
                    </a:lnTo>
                    <a:lnTo>
                      <a:pt x="637" y="385"/>
                    </a:lnTo>
                    <a:lnTo>
                      <a:pt x="636" y="386"/>
                    </a:lnTo>
                    <a:lnTo>
                      <a:pt x="636" y="388"/>
                    </a:lnTo>
                    <a:lnTo>
                      <a:pt x="635" y="389"/>
                    </a:lnTo>
                    <a:lnTo>
                      <a:pt x="635" y="390"/>
                    </a:lnTo>
                    <a:lnTo>
                      <a:pt x="635" y="391"/>
                    </a:lnTo>
                    <a:lnTo>
                      <a:pt x="634" y="391"/>
                    </a:lnTo>
                    <a:lnTo>
                      <a:pt x="633" y="391"/>
                    </a:lnTo>
                    <a:lnTo>
                      <a:pt x="632" y="391"/>
                    </a:lnTo>
                    <a:lnTo>
                      <a:pt x="632" y="390"/>
                    </a:lnTo>
                    <a:lnTo>
                      <a:pt x="631" y="391"/>
                    </a:lnTo>
                    <a:lnTo>
                      <a:pt x="629" y="391"/>
                    </a:lnTo>
                    <a:lnTo>
                      <a:pt x="628" y="391"/>
                    </a:lnTo>
                    <a:lnTo>
                      <a:pt x="626" y="392"/>
                    </a:lnTo>
                    <a:lnTo>
                      <a:pt x="625" y="392"/>
                    </a:lnTo>
                    <a:lnTo>
                      <a:pt x="625" y="391"/>
                    </a:lnTo>
                    <a:lnTo>
                      <a:pt x="625" y="389"/>
                    </a:lnTo>
                    <a:lnTo>
                      <a:pt x="624" y="390"/>
                    </a:lnTo>
                    <a:lnTo>
                      <a:pt x="622" y="391"/>
                    </a:lnTo>
                    <a:lnTo>
                      <a:pt x="624" y="392"/>
                    </a:lnTo>
                    <a:lnTo>
                      <a:pt x="624" y="393"/>
                    </a:lnTo>
                    <a:lnTo>
                      <a:pt x="624" y="395"/>
                    </a:lnTo>
                    <a:lnTo>
                      <a:pt x="622" y="395"/>
                    </a:lnTo>
                    <a:lnTo>
                      <a:pt x="624" y="395"/>
                    </a:lnTo>
                    <a:lnTo>
                      <a:pt x="626" y="392"/>
                    </a:lnTo>
                    <a:lnTo>
                      <a:pt x="627" y="392"/>
                    </a:lnTo>
                    <a:lnTo>
                      <a:pt x="627" y="393"/>
                    </a:lnTo>
                    <a:lnTo>
                      <a:pt x="627" y="396"/>
                    </a:lnTo>
                    <a:lnTo>
                      <a:pt x="626" y="397"/>
                    </a:lnTo>
                    <a:lnTo>
                      <a:pt x="626" y="398"/>
                    </a:lnTo>
                    <a:lnTo>
                      <a:pt x="627" y="398"/>
                    </a:lnTo>
                    <a:lnTo>
                      <a:pt x="627" y="397"/>
                    </a:lnTo>
                    <a:lnTo>
                      <a:pt x="628" y="395"/>
                    </a:lnTo>
                    <a:lnTo>
                      <a:pt x="629" y="397"/>
                    </a:lnTo>
                    <a:lnTo>
                      <a:pt x="627" y="400"/>
                    </a:lnTo>
                    <a:lnTo>
                      <a:pt x="626" y="402"/>
                    </a:lnTo>
                    <a:lnTo>
                      <a:pt x="626" y="404"/>
                    </a:lnTo>
                    <a:lnTo>
                      <a:pt x="626" y="405"/>
                    </a:lnTo>
                    <a:lnTo>
                      <a:pt x="626" y="406"/>
                    </a:lnTo>
                    <a:lnTo>
                      <a:pt x="626" y="407"/>
                    </a:lnTo>
                    <a:lnTo>
                      <a:pt x="625" y="411"/>
                    </a:lnTo>
                    <a:lnTo>
                      <a:pt x="624" y="411"/>
                    </a:lnTo>
                    <a:lnTo>
                      <a:pt x="622" y="411"/>
                    </a:lnTo>
                    <a:lnTo>
                      <a:pt x="621" y="412"/>
                    </a:lnTo>
                    <a:lnTo>
                      <a:pt x="621" y="413"/>
                    </a:lnTo>
                    <a:lnTo>
                      <a:pt x="621" y="414"/>
                    </a:lnTo>
                    <a:lnTo>
                      <a:pt x="622" y="414"/>
                    </a:lnTo>
                    <a:lnTo>
                      <a:pt x="624" y="413"/>
                    </a:lnTo>
                    <a:lnTo>
                      <a:pt x="624" y="414"/>
                    </a:lnTo>
                    <a:lnTo>
                      <a:pt x="624" y="416"/>
                    </a:lnTo>
                    <a:lnTo>
                      <a:pt x="622" y="419"/>
                    </a:lnTo>
                    <a:lnTo>
                      <a:pt x="622" y="420"/>
                    </a:lnTo>
                    <a:lnTo>
                      <a:pt x="621" y="423"/>
                    </a:lnTo>
                    <a:lnTo>
                      <a:pt x="620" y="423"/>
                    </a:lnTo>
                    <a:lnTo>
                      <a:pt x="620" y="424"/>
                    </a:lnTo>
                    <a:lnTo>
                      <a:pt x="619" y="424"/>
                    </a:lnTo>
                    <a:lnTo>
                      <a:pt x="618" y="420"/>
                    </a:lnTo>
                    <a:lnTo>
                      <a:pt x="617" y="420"/>
                    </a:lnTo>
                    <a:lnTo>
                      <a:pt x="615" y="421"/>
                    </a:lnTo>
                    <a:lnTo>
                      <a:pt x="614" y="423"/>
                    </a:lnTo>
                    <a:lnTo>
                      <a:pt x="613" y="423"/>
                    </a:lnTo>
                    <a:lnTo>
                      <a:pt x="612" y="423"/>
                    </a:lnTo>
                    <a:lnTo>
                      <a:pt x="611" y="423"/>
                    </a:lnTo>
                    <a:lnTo>
                      <a:pt x="612" y="424"/>
                    </a:lnTo>
                    <a:lnTo>
                      <a:pt x="613" y="425"/>
                    </a:lnTo>
                    <a:lnTo>
                      <a:pt x="614" y="424"/>
                    </a:lnTo>
                    <a:lnTo>
                      <a:pt x="618" y="425"/>
                    </a:lnTo>
                    <a:lnTo>
                      <a:pt x="619" y="425"/>
                    </a:lnTo>
                    <a:lnTo>
                      <a:pt x="618" y="426"/>
                    </a:lnTo>
                    <a:lnTo>
                      <a:pt x="615" y="426"/>
                    </a:lnTo>
                    <a:lnTo>
                      <a:pt x="614" y="426"/>
                    </a:lnTo>
                    <a:lnTo>
                      <a:pt x="613" y="427"/>
                    </a:lnTo>
                    <a:lnTo>
                      <a:pt x="613" y="428"/>
                    </a:lnTo>
                    <a:lnTo>
                      <a:pt x="612" y="428"/>
                    </a:lnTo>
                    <a:lnTo>
                      <a:pt x="613" y="428"/>
                    </a:lnTo>
                    <a:lnTo>
                      <a:pt x="614" y="428"/>
                    </a:lnTo>
                    <a:lnTo>
                      <a:pt x="614" y="430"/>
                    </a:lnTo>
                    <a:lnTo>
                      <a:pt x="614" y="431"/>
                    </a:lnTo>
                    <a:lnTo>
                      <a:pt x="613" y="432"/>
                    </a:lnTo>
                    <a:lnTo>
                      <a:pt x="610" y="433"/>
                    </a:lnTo>
                    <a:lnTo>
                      <a:pt x="608" y="434"/>
                    </a:lnTo>
                    <a:lnTo>
                      <a:pt x="607" y="434"/>
                    </a:lnTo>
                    <a:lnTo>
                      <a:pt x="605" y="437"/>
                    </a:lnTo>
                    <a:lnTo>
                      <a:pt x="603" y="438"/>
                    </a:lnTo>
                    <a:lnTo>
                      <a:pt x="600" y="440"/>
                    </a:lnTo>
                    <a:lnTo>
                      <a:pt x="598" y="442"/>
                    </a:lnTo>
                    <a:lnTo>
                      <a:pt x="597" y="445"/>
                    </a:lnTo>
                    <a:lnTo>
                      <a:pt x="597" y="447"/>
                    </a:lnTo>
                    <a:lnTo>
                      <a:pt x="596" y="451"/>
                    </a:lnTo>
                    <a:lnTo>
                      <a:pt x="594" y="453"/>
                    </a:lnTo>
                    <a:lnTo>
                      <a:pt x="596" y="456"/>
                    </a:lnTo>
                    <a:lnTo>
                      <a:pt x="593" y="456"/>
                    </a:lnTo>
                    <a:lnTo>
                      <a:pt x="593" y="459"/>
                    </a:lnTo>
                    <a:lnTo>
                      <a:pt x="592" y="460"/>
                    </a:lnTo>
                    <a:lnTo>
                      <a:pt x="591" y="460"/>
                    </a:lnTo>
                    <a:lnTo>
                      <a:pt x="592" y="458"/>
                    </a:lnTo>
                    <a:lnTo>
                      <a:pt x="591" y="458"/>
                    </a:lnTo>
                    <a:lnTo>
                      <a:pt x="590" y="458"/>
                    </a:lnTo>
                    <a:lnTo>
                      <a:pt x="587" y="460"/>
                    </a:lnTo>
                    <a:lnTo>
                      <a:pt x="589" y="461"/>
                    </a:lnTo>
                    <a:lnTo>
                      <a:pt x="590" y="461"/>
                    </a:lnTo>
                    <a:lnTo>
                      <a:pt x="591" y="461"/>
                    </a:lnTo>
                    <a:lnTo>
                      <a:pt x="592" y="463"/>
                    </a:lnTo>
                    <a:lnTo>
                      <a:pt x="592" y="465"/>
                    </a:lnTo>
                    <a:lnTo>
                      <a:pt x="593" y="465"/>
                    </a:lnTo>
                    <a:lnTo>
                      <a:pt x="592" y="465"/>
                    </a:lnTo>
                    <a:lnTo>
                      <a:pt x="591" y="466"/>
                    </a:lnTo>
                    <a:lnTo>
                      <a:pt x="589" y="475"/>
                    </a:lnTo>
                    <a:lnTo>
                      <a:pt x="587" y="476"/>
                    </a:lnTo>
                    <a:lnTo>
                      <a:pt x="585" y="477"/>
                    </a:lnTo>
                    <a:lnTo>
                      <a:pt x="584" y="479"/>
                    </a:lnTo>
                    <a:lnTo>
                      <a:pt x="582" y="482"/>
                    </a:lnTo>
                    <a:lnTo>
                      <a:pt x="580" y="482"/>
                    </a:lnTo>
                    <a:lnTo>
                      <a:pt x="579" y="482"/>
                    </a:lnTo>
                    <a:lnTo>
                      <a:pt x="580" y="483"/>
                    </a:lnTo>
                    <a:lnTo>
                      <a:pt x="582" y="484"/>
                    </a:lnTo>
                    <a:lnTo>
                      <a:pt x="583" y="484"/>
                    </a:lnTo>
                    <a:lnTo>
                      <a:pt x="583" y="486"/>
                    </a:lnTo>
                    <a:lnTo>
                      <a:pt x="582" y="486"/>
                    </a:lnTo>
                    <a:lnTo>
                      <a:pt x="580" y="486"/>
                    </a:lnTo>
                    <a:lnTo>
                      <a:pt x="580" y="487"/>
                    </a:lnTo>
                    <a:lnTo>
                      <a:pt x="582" y="488"/>
                    </a:lnTo>
                    <a:lnTo>
                      <a:pt x="583" y="488"/>
                    </a:lnTo>
                    <a:lnTo>
                      <a:pt x="582" y="489"/>
                    </a:lnTo>
                    <a:lnTo>
                      <a:pt x="583" y="489"/>
                    </a:lnTo>
                    <a:lnTo>
                      <a:pt x="582" y="491"/>
                    </a:lnTo>
                    <a:lnTo>
                      <a:pt x="583" y="493"/>
                    </a:lnTo>
                    <a:lnTo>
                      <a:pt x="584" y="494"/>
                    </a:lnTo>
                    <a:lnTo>
                      <a:pt x="586" y="494"/>
                    </a:lnTo>
                    <a:lnTo>
                      <a:pt x="585" y="496"/>
                    </a:lnTo>
                    <a:lnTo>
                      <a:pt x="585" y="498"/>
                    </a:lnTo>
                    <a:lnTo>
                      <a:pt x="584" y="500"/>
                    </a:lnTo>
                    <a:lnTo>
                      <a:pt x="583" y="501"/>
                    </a:lnTo>
                    <a:lnTo>
                      <a:pt x="582" y="500"/>
                    </a:lnTo>
                    <a:lnTo>
                      <a:pt x="582" y="498"/>
                    </a:lnTo>
                    <a:lnTo>
                      <a:pt x="580" y="497"/>
                    </a:lnTo>
                    <a:lnTo>
                      <a:pt x="582" y="497"/>
                    </a:lnTo>
                    <a:lnTo>
                      <a:pt x="582" y="496"/>
                    </a:lnTo>
                    <a:lnTo>
                      <a:pt x="582" y="494"/>
                    </a:lnTo>
                    <a:lnTo>
                      <a:pt x="580" y="493"/>
                    </a:lnTo>
                    <a:lnTo>
                      <a:pt x="579" y="493"/>
                    </a:lnTo>
                    <a:lnTo>
                      <a:pt x="578" y="493"/>
                    </a:lnTo>
                    <a:lnTo>
                      <a:pt x="577" y="494"/>
                    </a:lnTo>
                    <a:lnTo>
                      <a:pt x="576" y="494"/>
                    </a:lnTo>
                    <a:lnTo>
                      <a:pt x="575" y="497"/>
                    </a:lnTo>
                    <a:lnTo>
                      <a:pt x="576" y="497"/>
                    </a:lnTo>
                    <a:lnTo>
                      <a:pt x="576" y="498"/>
                    </a:lnTo>
                    <a:lnTo>
                      <a:pt x="576" y="500"/>
                    </a:lnTo>
                    <a:lnTo>
                      <a:pt x="576" y="501"/>
                    </a:lnTo>
                    <a:close/>
                    <a:moveTo>
                      <a:pt x="496" y="507"/>
                    </a:moveTo>
                    <a:lnTo>
                      <a:pt x="497" y="505"/>
                    </a:lnTo>
                    <a:lnTo>
                      <a:pt x="497" y="504"/>
                    </a:lnTo>
                    <a:lnTo>
                      <a:pt x="493" y="503"/>
                    </a:lnTo>
                    <a:lnTo>
                      <a:pt x="492" y="502"/>
                    </a:lnTo>
                    <a:lnTo>
                      <a:pt x="491" y="502"/>
                    </a:lnTo>
                    <a:lnTo>
                      <a:pt x="489" y="500"/>
                    </a:lnTo>
                    <a:lnTo>
                      <a:pt x="487" y="500"/>
                    </a:lnTo>
                    <a:lnTo>
                      <a:pt x="487" y="498"/>
                    </a:lnTo>
                    <a:lnTo>
                      <a:pt x="489" y="498"/>
                    </a:lnTo>
                    <a:lnTo>
                      <a:pt x="487" y="497"/>
                    </a:lnTo>
                    <a:lnTo>
                      <a:pt x="486" y="497"/>
                    </a:lnTo>
                    <a:lnTo>
                      <a:pt x="486" y="496"/>
                    </a:lnTo>
                    <a:lnTo>
                      <a:pt x="485" y="496"/>
                    </a:lnTo>
                    <a:lnTo>
                      <a:pt x="485" y="495"/>
                    </a:lnTo>
                    <a:lnTo>
                      <a:pt x="485" y="494"/>
                    </a:lnTo>
                    <a:lnTo>
                      <a:pt x="485" y="493"/>
                    </a:lnTo>
                    <a:lnTo>
                      <a:pt x="482" y="489"/>
                    </a:lnTo>
                    <a:lnTo>
                      <a:pt x="480" y="490"/>
                    </a:lnTo>
                    <a:lnTo>
                      <a:pt x="470" y="496"/>
                    </a:lnTo>
                    <a:lnTo>
                      <a:pt x="463" y="500"/>
                    </a:lnTo>
                    <a:lnTo>
                      <a:pt x="462" y="501"/>
                    </a:lnTo>
                    <a:lnTo>
                      <a:pt x="461" y="502"/>
                    </a:lnTo>
                    <a:lnTo>
                      <a:pt x="461" y="503"/>
                    </a:lnTo>
                    <a:lnTo>
                      <a:pt x="461" y="504"/>
                    </a:lnTo>
                    <a:lnTo>
                      <a:pt x="461" y="505"/>
                    </a:lnTo>
                    <a:lnTo>
                      <a:pt x="459" y="508"/>
                    </a:lnTo>
                    <a:lnTo>
                      <a:pt x="458" y="510"/>
                    </a:lnTo>
                    <a:lnTo>
                      <a:pt x="457" y="512"/>
                    </a:lnTo>
                    <a:lnTo>
                      <a:pt x="457" y="514"/>
                    </a:lnTo>
                    <a:lnTo>
                      <a:pt x="457" y="517"/>
                    </a:lnTo>
                    <a:lnTo>
                      <a:pt x="457" y="519"/>
                    </a:lnTo>
                    <a:lnTo>
                      <a:pt x="457" y="521"/>
                    </a:lnTo>
                    <a:lnTo>
                      <a:pt x="456" y="523"/>
                    </a:lnTo>
                    <a:lnTo>
                      <a:pt x="456" y="524"/>
                    </a:lnTo>
                    <a:lnTo>
                      <a:pt x="456" y="525"/>
                    </a:lnTo>
                    <a:lnTo>
                      <a:pt x="457" y="525"/>
                    </a:lnTo>
                    <a:lnTo>
                      <a:pt x="457" y="526"/>
                    </a:lnTo>
                    <a:lnTo>
                      <a:pt x="457" y="528"/>
                    </a:lnTo>
                    <a:lnTo>
                      <a:pt x="457" y="529"/>
                    </a:lnTo>
                    <a:lnTo>
                      <a:pt x="459" y="531"/>
                    </a:lnTo>
                    <a:lnTo>
                      <a:pt x="459" y="532"/>
                    </a:lnTo>
                    <a:lnTo>
                      <a:pt x="461" y="532"/>
                    </a:lnTo>
                    <a:lnTo>
                      <a:pt x="461" y="531"/>
                    </a:lnTo>
                    <a:lnTo>
                      <a:pt x="462" y="531"/>
                    </a:lnTo>
                    <a:lnTo>
                      <a:pt x="463" y="531"/>
                    </a:lnTo>
                    <a:lnTo>
                      <a:pt x="463" y="532"/>
                    </a:lnTo>
                    <a:lnTo>
                      <a:pt x="463" y="533"/>
                    </a:lnTo>
                    <a:lnTo>
                      <a:pt x="463" y="537"/>
                    </a:lnTo>
                    <a:lnTo>
                      <a:pt x="463" y="539"/>
                    </a:lnTo>
                    <a:lnTo>
                      <a:pt x="463" y="542"/>
                    </a:lnTo>
                    <a:lnTo>
                      <a:pt x="464" y="542"/>
                    </a:lnTo>
                    <a:lnTo>
                      <a:pt x="464" y="543"/>
                    </a:lnTo>
                    <a:lnTo>
                      <a:pt x="465" y="543"/>
                    </a:lnTo>
                    <a:lnTo>
                      <a:pt x="468" y="544"/>
                    </a:lnTo>
                    <a:lnTo>
                      <a:pt x="469" y="545"/>
                    </a:lnTo>
                    <a:lnTo>
                      <a:pt x="470" y="546"/>
                    </a:lnTo>
                    <a:lnTo>
                      <a:pt x="471" y="545"/>
                    </a:lnTo>
                    <a:lnTo>
                      <a:pt x="471" y="544"/>
                    </a:lnTo>
                    <a:lnTo>
                      <a:pt x="472" y="543"/>
                    </a:lnTo>
                    <a:lnTo>
                      <a:pt x="473" y="543"/>
                    </a:lnTo>
                    <a:lnTo>
                      <a:pt x="473" y="542"/>
                    </a:lnTo>
                    <a:lnTo>
                      <a:pt x="475" y="542"/>
                    </a:lnTo>
                    <a:lnTo>
                      <a:pt x="475" y="540"/>
                    </a:lnTo>
                    <a:lnTo>
                      <a:pt x="475" y="539"/>
                    </a:lnTo>
                    <a:lnTo>
                      <a:pt x="475" y="538"/>
                    </a:lnTo>
                    <a:lnTo>
                      <a:pt x="475" y="536"/>
                    </a:lnTo>
                    <a:lnTo>
                      <a:pt x="475" y="535"/>
                    </a:lnTo>
                    <a:lnTo>
                      <a:pt x="476" y="532"/>
                    </a:lnTo>
                    <a:lnTo>
                      <a:pt x="476" y="531"/>
                    </a:lnTo>
                    <a:lnTo>
                      <a:pt x="476" y="529"/>
                    </a:lnTo>
                    <a:lnTo>
                      <a:pt x="476" y="525"/>
                    </a:lnTo>
                    <a:lnTo>
                      <a:pt x="476" y="524"/>
                    </a:lnTo>
                    <a:lnTo>
                      <a:pt x="476" y="523"/>
                    </a:lnTo>
                    <a:lnTo>
                      <a:pt x="476" y="522"/>
                    </a:lnTo>
                    <a:lnTo>
                      <a:pt x="478" y="522"/>
                    </a:lnTo>
                    <a:lnTo>
                      <a:pt x="478" y="521"/>
                    </a:lnTo>
                    <a:lnTo>
                      <a:pt x="479" y="518"/>
                    </a:lnTo>
                    <a:lnTo>
                      <a:pt x="480" y="517"/>
                    </a:lnTo>
                    <a:lnTo>
                      <a:pt x="480" y="516"/>
                    </a:lnTo>
                    <a:lnTo>
                      <a:pt x="479" y="515"/>
                    </a:lnTo>
                    <a:lnTo>
                      <a:pt x="479" y="514"/>
                    </a:lnTo>
                    <a:lnTo>
                      <a:pt x="480" y="512"/>
                    </a:lnTo>
                    <a:lnTo>
                      <a:pt x="480" y="511"/>
                    </a:lnTo>
                    <a:lnTo>
                      <a:pt x="482" y="510"/>
                    </a:lnTo>
                    <a:lnTo>
                      <a:pt x="483" y="508"/>
                    </a:lnTo>
                    <a:lnTo>
                      <a:pt x="484" y="508"/>
                    </a:lnTo>
                    <a:lnTo>
                      <a:pt x="484" y="507"/>
                    </a:lnTo>
                    <a:lnTo>
                      <a:pt x="485" y="507"/>
                    </a:lnTo>
                    <a:lnTo>
                      <a:pt x="485" y="508"/>
                    </a:lnTo>
                    <a:lnTo>
                      <a:pt x="486" y="508"/>
                    </a:lnTo>
                    <a:lnTo>
                      <a:pt x="487" y="507"/>
                    </a:lnTo>
                    <a:lnTo>
                      <a:pt x="489" y="507"/>
                    </a:lnTo>
                    <a:lnTo>
                      <a:pt x="489" y="505"/>
                    </a:lnTo>
                    <a:lnTo>
                      <a:pt x="493" y="508"/>
                    </a:lnTo>
                    <a:lnTo>
                      <a:pt x="494" y="508"/>
                    </a:lnTo>
                    <a:lnTo>
                      <a:pt x="496" y="507"/>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2" name="Freeform 23">
                <a:extLst>
                  <a:ext uri="{FF2B5EF4-FFF2-40B4-BE49-F238E27FC236}">
                    <a16:creationId xmlns:a16="http://schemas.microsoft.com/office/drawing/2014/main" id="{8D458086-8F4A-4BDE-A6DD-7A24924CEBBB}"/>
                  </a:ext>
                </a:extLst>
              </p:cNvPr>
              <p:cNvSpPr>
                <a:spLocks noEditPoints="1"/>
              </p:cNvSpPr>
              <p:nvPr/>
            </p:nvSpPr>
            <p:spPr bwMode="auto">
              <a:xfrm>
                <a:off x="5340350" y="4022252"/>
                <a:ext cx="1244600" cy="1414463"/>
              </a:xfrm>
              <a:custGeom>
                <a:avLst/>
                <a:gdLst>
                  <a:gd name="T0" fmla="*/ 553 w 784"/>
                  <a:gd name="T1" fmla="*/ 715 h 891"/>
                  <a:gd name="T2" fmla="*/ 571 w 784"/>
                  <a:gd name="T3" fmla="*/ 722 h 891"/>
                  <a:gd name="T4" fmla="*/ 544 w 784"/>
                  <a:gd name="T5" fmla="*/ 730 h 891"/>
                  <a:gd name="T6" fmla="*/ 503 w 784"/>
                  <a:gd name="T7" fmla="*/ 732 h 891"/>
                  <a:gd name="T8" fmla="*/ 481 w 784"/>
                  <a:gd name="T9" fmla="*/ 716 h 891"/>
                  <a:gd name="T10" fmla="*/ 535 w 784"/>
                  <a:gd name="T11" fmla="*/ 701 h 891"/>
                  <a:gd name="T12" fmla="*/ 453 w 784"/>
                  <a:gd name="T13" fmla="*/ 650 h 891"/>
                  <a:gd name="T14" fmla="*/ 357 w 784"/>
                  <a:gd name="T15" fmla="*/ 559 h 891"/>
                  <a:gd name="T16" fmla="*/ 304 w 784"/>
                  <a:gd name="T17" fmla="*/ 457 h 891"/>
                  <a:gd name="T18" fmla="*/ 734 w 784"/>
                  <a:gd name="T19" fmla="*/ 890 h 891"/>
                  <a:gd name="T20" fmla="*/ 695 w 784"/>
                  <a:gd name="T21" fmla="*/ 864 h 891"/>
                  <a:gd name="T22" fmla="*/ 668 w 784"/>
                  <a:gd name="T23" fmla="*/ 816 h 891"/>
                  <a:gd name="T24" fmla="*/ 653 w 784"/>
                  <a:gd name="T25" fmla="*/ 732 h 891"/>
                  <a:gd name="T26" fmla="*/ 661 w 784"/>
                  <a:gd name="T27" fmla="*/ 740 h 891"/>
                  <a:gd name="T28" fmla="*/ 638 w 784"/>
                  <a:gd name="T29" fmla="*/ 698 h 891"/>
                  <a:gd name="T30" fmla="*/ 647 w 784"/>
                  <a:gd name="T31" fmla="*/ 704 h 891"/>
                  <a:gd name="T32" fmla="*/ 638 w 784"/>
                  <a:gd name="T33" fmla="*/ 684 h 891"/>
                  <a:gd name="T34" fmla="*/ 620 w 784"/>
                  <a:gd name="T35" fmla="*/ 694 h 891"/>
                  <a:gd name="T36" fmla="*/ 605 w 784"/>
                  <a:gd name="T37" fmla="*/ 701 h 891"/>
                  <a:gd name="T38" fmla="*/ 585 w 784"/>
                  <a:gd name="T39" fmla="*/ 690 h 891"/>
                  <a:gd name="T40" fmla="*/ 598 w 784"/>
                  <a:gd name="T41" fmla="*/ 661 h 891"/>
                  <a:gd name="T42" fmla="*/ 591 w 784"/>
                  <a:gd name="T43" fmla="*/ 628 h 891"/>
                  <a:gd name="T44" fmla="*/ 571 w 784"/>
                  <a:gd name="T45" fmla="*/ 605 h 891"/>
                  <a:gd name="T46" fmla="*/ 556 w 784"/>
                  <a:gd name="T47" fmla="*/ 652 h 891"/>
                  <a:gd name="T48" fmla="*/ 527 w 784"/>
                  <a:gd name="T49" fmla="*/ 669 h 891"/>
                  <a:gd name="T50" fmla="*/ 502 w 784"/>
                  <a:gd name="T51" fmla="*/ 668 h 891"/>
                  <a:gd name="T52" fmla="*/ 530 w 784"/>
                  <a:gd name="T53" fmla="*/ 652 h 891"/>
                  <a:gd name="T54" fmla="*/ 534 w 784"/>
                  <a:gd name="T55" fmla="*/ 617 h 891"/>
                  <a:gd name="T56" fmla="*/ 542 w 784"/>
                  <a:gd name="T57" fmla="*/ 585 h 891"/>
                  <a:gd name="T58" fmla="*/ 563 w 784"/>
                  <a:gd name="T59" fmla="*/ 557 h 891"/>
                  <a:gd name="T60" fmla="*/ 561 w 784"/>
                  <a:gd name="T61" fmla="*/ 533 h 891"/>
                  <a:gd name="T62" fmla="*/ 570 w 784"/>
                  <a:gd name="T63" fmla="*/ 512 h 891"/>
                  <a:gd name="T64" fmla="*/ 560 w 784"/>
                  <a:gd name="T65" fmla="*/ 477 h 891"/>
                  <a:gd name="T66" fmla="*/ 557 w 784"/>
                  <a:gd name="T67" fmla="*/ 505 h 891"/>
                  <a:gd name="T68" fmla="*/ 538 w 784"/>
                  <a:gd name="T69" fmla="*/ 522 h 891"/>
                  <a:gd name="T70" fmla="*/ 509 w 784"/>
                  <a:gd name="T71" fmla="*/ 561 h 891"/>
                  <a:gd name="T72" fmla="*/ 485 w 784"/>
                  <a:gd name="T73" fmla="*/ 575 h 891"/>
                  <a:gd name="T74" fmla="*/ 455 w 784"/>
                  <a:gd name="T75" fmla="*/ 610 h 891"/>
                  <a:gd name="T76" fmla="*/ 441 w 784"/>
                  <a:gd name="T77" fmla="*/ 627 h 891"/>
                  <a:gd name="T78" fmla="*/ 447 w 784"/>
                  <a:gd name="T79" fmla="*/ 639 h 891"/>
                  <a:gd name="T80" fmla="*/ 440 w 784"/>
                  <a:gd name="T81" fmla="*/ 649 h 891"/>
                  <a:gd name="T82" fmla="*/ 413 w 784"/>
                  <a:gd name="T83" fmla="*/ 633 h 891"/>
                  <a:gd name="T84" fmla="*/ 398 w 784"/>
                  <a:gd name="T85" fmla="*/ 617 h 891"/>
                  <a:gd name="T86" fmla="*/ 410 w 784"/>
                  <a:gd name="T87" fmla="*/ 627 h 891"/>
                  <a:gd name="T88" fmla="*/ 412 w 784"/>
                  <a:gd name="T89" fmla="*/ 617 h 891"/>
                  <a:gd name="T90" fmla="*/ 399 w 784"/>
                  <a:gd name="T91" fmla="*/ 573 h 891"/>
                  <a:gd name="T92" fmla="*/ 377 w 784"/>
                  <a:gd name="T93" fmla="*/ 536 h 891"/>
                  <a:gd name="T94" fmla="*/ 367 w 784"/>
                  <a:gd name="T95" fmla="*/ 522 h 891"/>
                  <a:gd name="T96" fmla="*/ 343 w 784"/>
                  <a:gd name="T97" fmla="*/ 516 h 891"/>
                  <a:gd name="T98" fmla="*/ 333 w 784"/>
                  <a:gd name="T99" fmla="*/ 499 h 891"/>
                  <a:gd name="T100" fmla="*/ 343 w 784"/>
                  <a:gd name="T101" fmla="*/ 488 h 891"/>
                  <a:gd name="T102" fmla="*/ 325 w 784"/>
                  <a:gd name="T103" fmla="*/ 471 h 891"/>
                  <a:gd name="T104" fmla="*/ 321 w 784"/>
                  <a:gd name="T105" fmla="*/ 459 h 891"/>
                  <a:gd name="T106" fmla="*/ 306 w 784"/>
                  <a:gd name="T107" fmla="*/ 442 h 891"/>
                  <a:gd name="T108" fmla="*/ 295 w 784"/>
                  <a:gd name="T109" fmla="*/ 450 h 891"/>
                  <a:gd name="T110" fmla="*/ 265 w 784"/>
                  <a:gd name="T111" fmla="*/ 443 h 891"/>
                  <a:gd name="T112" fmla="*/ 234 w 784"/>
                  <a:gd name="T113" fmla="*/ 437 h 891"/>
                  <a:gd name="T114" fmla="*/ 130 w 784"/>
                  <a:gd name="T115" fmla="*/ 408 h 891"/>
                  <a:gd name="T116" fmla="*/ 18 w 784"/>
                  <a:gd name="T117" fmla="*/ 418 h 891"/>
                  <a:gd name="T118" fmla="*/ 111 w 784"/>
                  <a:gd name="T119" fmla="*/ 2 h 891"/>
                  <a:gd name="T120" fmla="*/ 497 w 784"/>
                  <a:gd name="T121" fmla="*/ 1 h 891"/>
                  <a:gd name="T122" fmla="*/ 772 w 784"/>
                  <a:gd name="T123" fmla="*/ 252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4" h="891">
                    <a:moveTo>
                      <a:pt x="544" y="699"/>
                    </a:moveTo>
                    <a:lnTo>
                      <a:pt x="545" y="701"/>
                    </a:lnTo>
                    <a:lnTo>
                      <a:pt x="544" y="702"/>
                    </a:lnTo>
                    <a:lnTo>
                      <a:pt x="542" y="702"/>
                    </a:lnTo>
                    <a:lnTo>
                      <a:pt x="541" y="703"/>
                    </a:lnTo>
                    <a:lnTo>
                      <a:pt x="541" y="704"/>
                    </a:lnTo>
                    <a:lnTo>
                      <a:pt x="542" y="704"/>
                    </a:lnTo>
                    <a:lnTo>
                      <a:pt x="545" y="704"/>
                    </a:lnTo>
                    <a:lnTo>
                      <a:pt x="546" y="705"/>
                    </a:lnTo>
                    <a:lnTo>
                      <a:pt x="544" y="708"/>
                    </a:lnTo>
                    <a:lnTo>
                      <a:pt x="541" y="710"/>
                    </a:lnTo>
                    <a:lnTo>
                      <a:pt x="542" y="711"/>
                    </a:lnTo>
                    <a:lnTo>
                      <a:pt x="544" y="711"/>
                    </a:lnTo>
                    <a:lnTo>
                      <a:pt x="545" y="711"/>
                    </a:lnTo>
                    <a:lnTo>
                      <a:pt x="547" y="712"/>
                    </a:lnTo>
                    <a:lnTo>
                      <a:pt x="549" y="712"/>
                    </a:lnTo>
                    <a:lnTo>
                      <a:pt x="552" y="712"/>
                    </a:lnTo>
                    <a:lnTo>
                      <a:pt x="552" y="711"/>
                    </a:lnTo>
                    <a:lnTo>
                      <a:pt x="553" y="711"/>
                    </a:lnTo>
                    <a:lnTo>
                      <a:pt x="554" y="712"/>
                    </a:lnTo>
                    <a:lnTo>
                      <a:pt x="554" y="713"/>
                    </a:lnTo>
                    <a:lnTo>
                      <a:pt x="553" y="715"/>
                    </a:lnTo>
                    <a:lnTo>
                      <a:pt x="554" y="716"/>
                    </a:lnTo>
                    <a:lnTo>
                      <a:pt x="555" y="717"/>
                    </a:lnTo>
                    <a:lnTo>
                      <a:pt x="556" y="717"/>
                    </a:lnTo>
                    <a:lnTo>
                      <a:pt x="557" y="716"/>
                    </a:lnTo>
                    <a:lnTo>
                      <a:pt x="559" y="716"/>
                    </a:lnTo>
                    <a:lnTo>
                      <a:pt x="559" y="715"/>
                    </a:lnTo>
                    <a:lnTo>
                      <a:pt x="560" y="713"/>
                    </a:lnTo>
                    <a:lnTo>
                      <a:pt x="560" y="712"/>
                    </a:lnTo>
                    <a:lnTo>
                      <a:pt x="561" y="711"/>
                    </a:lnTo>
                    <a:lnTo>
                      <a:pt x="562" y="711"/>
                    </a:lnTo>
                    <a:lnTo>
                      <a:pt x="564" y="711"/>
                    </a:lnTo>
                    <a:lnTo>
                      <a:pt x="567" y="712"/>
                    </a:lnTo>
                    <a:lnTo>
                      <a:pt x="569" y="713"/>
                    </a:lnTo>
                    <a:lnTo>
                      <a:pt x="570" y="713"/>
                    </a:lnTo>
                    <a:lnTo>
                      <a:pt x="570" y="716"/>
                    </a:lnTo>
                    <a:lnTo>
                      <a:pt x="570" y="717"/>
                    </a:lnTo>
                    <a:lnTo>
                      <a:pt x="571" y="717"/>
                    </a:lnTo>
                    <a:lnTo>
                      <a:pt x="573" y="718"/>
                    </a:lnTo>
                    <a:lnTo>
                      <a:pt x="574" y="718"/>
                    </a:lnTo>
                    <a:lnTo>
                      <a:pt x="574" y="720"/>
                    </a:lnTo>
                    <a:lnTo>
                      <a:pt x="574" y="722"/>
                    </a:lnTo>
                    <a:lnTo>
                      <a:pt x="571" y="722"/>
                    </a:lnTo>
                    <a:lnTo>
                      <a:pt x="569" y="724"/>
                    </a:lnTo>
                    <a:lnTo>
                      <a:pt x="569" y="725"/>
                    </a:lnTo>
                    <a:lnTo>
                      <a:pt x="567" y="725"/>
                    </a:lnTo>
                    <a:lnTo>
                      <a:pt x="566" y="724"/>
                    </a:lnTo>
                    <a:lnTo>
                      <a:pt x="564" y="724"/>
                    </a:lnTo>
                    <a:lnTo>
                      <a:pt x="563" y="722"/>
                    </a:lnTo>
                    <a:lnTo>
                      <a:pt x="562" y="722"/>
                    </a:lnTo>
                    <a:lnTo>
                      <a:pt x="561" y="722"/>
                    </a:lnTo>
                    <a:lnTo>
                      <a:pt x="560" y="722"/>
                    </a:lnTo>
                    <a:lnTo>
                      <a:pt x="559" y="722"/>
                    </a:lnTo>
                    <a:lnTo>
                      <a:pt x="556" y="720"/>
                    </a:lnTo>
                    <a:lnTo>
                      <a:pt x="555" y="720"/>
                    </a:lnTo>
                    <a:lnTo>
                      <a:pt x="554" y="720"/>
                    </a:lnTo>
                    <a:lnTo>
                      <a:pt x="552" y="720"/>
                    </a:lnTo>
                    <a:lnTo>
                      <a:pt x="546" y="723"/>
                    </a:lnTo>
                    <a:lnTo>
                      <a:pt x="544" y="724"/>
                    </a:lnTo>
                    <a:lnTo>
                      <a:pt x="542" y="725"/>
                    </a:lnTo>
                    <a:lnTo>
                      <a:pt x="542" y="726"/>
                    </a:lnTo>
                    <a:lnTo>
                      <a:pt x="542" y="727"/>
                    </a:lnTo>
                    <a:lnTo>
                      <a:pt x="542" y="729"/>
                    </a:lnTo>
                    <a:lnTo>
                      <a:pt x="544" y="729"/>
                    </a:lnTo>
                    <a:lnTo>
                      <a:pt x="544" y="730"/>
                    </a:lnTo>
                    <a:lnTo>
                      <a:pt x="542" y="731"/>
                    </a:lnTo>
                    <a:lnTo>
                      <a:pt x="542" y="732"/>
                    </a:lnTo>
                    <a:lnTo>
                      <a:pt x="539" y="732"/>
                    </a:lnTo>
                    <a:lnTo>
                      <a:pt x="535" y="736"/>
                    </a:lnTo>
                    <a:lnTo>
                      <a:pt x="533" y="736"/>
                    </a:lnTo>
                    <a:lnTo>
                      <a:pt x="532" y="734"/>
                    </a:lnTo>
                    <a:lnTo>
                      <a:pt x="531" y="733"/>
                    </a:lnTo>
                    <a:lnTo>
                      <a:pt x="528" y="731"/>
                    </a:lnTo>
                    <a:lnTo>
                      <a:pt x="526" y="730"/>
                    </a:lnTo>
                    <a:lnTo>
                      <a:pt x="524" y="730"/>
                    </a:lnTo>
                    <a:lnTo>
                      <a:pt x="520" y="729"/>
                    </a:lnTo>
                    <a:lnTo>
                      <a:pt x="519" y="727"/>
                    </a:lnTo>
                    <a:lnTo>
                      <a:pt x="517" y="729"/>
                    </a:lnTo>
                    <a:lnTo>
                      <a:pt x="517" y="731"/>
                    </a:lnTo>
                    <a:lnTo>
                      <a:pt x="516" y="732"/>
                    </a:lnTo>
                    <a:lnTo>
                      <a:pt x="514" y="732"/>
                    </a:lnTo>
                    <a:lnTo>
                      <a:pt x="513" y="732"/>
                    </a:lnTo>
                    <a:lnTo>
                      <a:pt x="511" y="731"/>
                    </a:lnTo>
                    <a:lnTo>
                      <a:pt x="509" y="732"/>
                    </a:lnTo>
                    <a:lnTo>
                      <a:pt x="507" y="732"/>
                    </a:lnTo>
                    <a:lnTo>
                      <a:pt x="507" y="731"/>
                    </a:lnTo>
                    <a:lnTo>
                      <a:pt x="503" y="732"/>
                    </a:lnTo>
                    <a:lnTo>
                      <a:pt x="502" y="732"/>
                    </a:lnTo>
                    <a:lnTo>
                      <a:pt x="499" y="732"/>
                    </a:lnTo>
                    <a:lnTo>
                      <a:pt x="498" y="731"/>
                    </a:lnTo>
                    <a:lnTo>
                      <a:pt x="497" y="731"/>
                    </a:lnTo>
                    <a:lnTo>
                      <a:pt x="496" y="732"/>
                    </a:lnTo>
                    <a:lnTo>
                      <a:pt x="495" y="732"/>
                    </a:lnTo>
                    <a:lnTo>
                      <a:pt x="493" y="732"/>
                    </a:lnTo>
                    <a:lnTo>
                      <a:pt x="492" y="733"/>
                    </a:lnTo>
                    <a:lnTo>
                      <a:pt x="491" y="733"/>
                    </a:lnTo>
                    <a:lnTo>
                      <a:pt x="490" y="733"/>
                    </a:lnTo>
                    <a:lnTo>
                      <a:pt x="489" y="733"/>
                    </a:lnTo>
                    <a:lnTo>
                      <a:pt x="489" y="732"/>
                    </a:lnTo>
                    <a:lnTo>
                      <a:pt x="488" y="731"/>
                    </a:lnTo>
                    <a:lnTo>
                      <a:pt x="488" y="730"/>
                    </a:lnTo>
                    <a:lnTo>
                      <a:pt x="485" y="726"/>
                    </a:lnTo>
                    <a:lnTo>
                      <a:pt x="483" y="726"/>
                    </a:lnTo>
                    <a:lnTo>
                      <a:pt x="482" y="725"/>
                    </a:lnTo>
                    <a:lnTo>
                      <a:pt x="478" y="722"/>
                    </a:lnTo>
                    <a:lnTo>
                      <a:pt x="478" y="720"/>
                    </a:lnTo>
                    <a:lnTo>
                      <a:pt x="478" y="719"/>
                    </a:lnTo>
                    <a:lnTo>
                      <a:pt x="480" y="718"/>
                    </a:lnTo>
                    <a:lnTo>
                      <a:pt x="481" y="716"/>
                    </a:lnTo>
                    <a:lnTo>
                      <a:pt x="481" y="715"/>
                    </a:lnTo>
                    <a:lnTo>
                      <a:pt x="482" y="713"/>
                    </a:lnTo>
                    <a:lnTo>
                      <a:pt x="482" y="712"/>
                    </a:lnTo>
                    <a:lnTo>
                      <a:pt x="482" y="711"/>
                    </a:lnTo>
                    <a:lnTo>
                      <a:pt x="483" y="711"/>
                    </a:lnTo>
                    <a:lnTo>
                      <a:pt x="484" y="710"/>
                    </a:lnTo>
                    <a:lnTo>
                      <a:pt x="488" y="710"/>
                    </a:lnTo>
                    <a:lnTo>
                      <a:pt x="491" y="709"/>
                    </a:lnTo>
                    <a:lnTo>
                      <a:pt x="492" y="709"/>
                    </a:lnTo>
                    <a:lnTo>
                      <a:pt x="493" y="709"/>
                    </a:lnTo>
                    <a:lnTo>
                      <a:pt x="495" y="708"/>
                    </a:lnTo>
                    <a:lnTo>
                      <a:pt x="511" y="705"/>
                    </a:lnTo>
                    <a:lnTo>
                      <a:pt x="512" y="705"/>
                    </a:lnTo>
                    <a:lnTo>
                      <a:pt x="516" y="703"/>
                    </a:lnTo>
                    <a:lnTo>
                      <a:pt x="524" y="702"/>
                    </a:lnTo>
                    <a:lnTo>
                      <a:pt x="524" y="701"/>
                    </a:lnTo>
                    <a:lnTo>
                      <a:pt x="525" y="701"/>
                    </a:lnTo>
                    <a:lnTo>
                      <a:pt x="526" y="699"/>
                    </a:lnTo>
                    <a:lnTo>
                      <a:pt x="527" y="699"/>
                    </a:lnTo>
                    <a:lnTo>
                      <a:pt x="533" y="702"/>
                    </a:lnTo>
                    <a:lnTo>
                      <a:pt x="534" y="701"/>
                    </a:lnTo>
                    <a:lnTo>
                      <a:pt x="535" y="701"/>
                    </a:lnTo>
                    <a:lnTo>
                      <a:pt x="537" y="701"/>
                    </a:lnTo>
                    <a:lnTo>
                      <a:pt x="538" y="701"/>
                    </a:lnTo>
                    <a:lnTo>
                      <a:pt x="539" y="701"/>
                    </a:lnTo>
                    <a:lnTo>
                      <a:pt x="541" y="699"/>
                    </a:lnTo>
                    <a:lnTo>
                      <a:pt x="542" y="699"/>
                    </a:lnTo>
                    <a:lnTo>
                      <a:pt x="544" y="699"/>
                    </a:lnTo>
                    <a:close/>
                    <a:moveTo>
                      <a:pt x="477" y="668"/>
                    </a:moveTo>
                    <a:lnTo>
                      <a:pt x="476" y="668"/>
                    </a:lnTo>
                    <a:lnTo>
                      <a:pt x="475" y="668"/>
                    </a:lnTo>
                    <a:lnTo>
                      <a:pt x="474" y="667"/>
                    </a:lnTo>
                    <a:lnTo>
                      <a:pt x="475" y="666"/>
                    </a:lnTo>
                    <a:lnTo>
                      <a:pt x="476" y="666"/>
                    </a:lnTo>
                    <a:lnTo>
                      <a:pt x="477" y="667"/>
                    </a:lnTo>
                    <a:lnTo>
                      <a:pt x="477" y="668"/>
                    </a:lnTo>
                    <a:close/>
                    <a:moveTo>
                      <a:pt x="460" y="660"/>
                    </a:moveTo>
                    <a:lnTo>
                      <a:pt x="459" y="660"/>
                    </a:lnTo>
                    <a:lnTo>
                      <a:pt x="457" y="660"/>
                    </a:lnTo>
                    <a:lnTo>
                      <a:pt x="456" y="659"/>
                    </a:lnTo>
                    <a:lnTo>
                      <a:pt x="456" y="656"/>
                    </a:lnTo>
                    <a:lnTo>
                      <a:pt x="456" y="655"/>
                    </a:lnTo>
                    <a:lnTo>
                      <a:pt x="454" y="653"/>
                    </a:lnTo>
                    <a:lnTo>
                      <a:pt x="453" y="650"/>
                    </a:lnTo>
                    <a:lnTo>
                      <a:pt x="454" y="650"/>
                    </a:lnTo>
                    <a:lnTo>
                      <a:pt x="455" y="650"/>
                    </a:lnTo>
                    <a:lnTo>
                      <a:pt x="459" y="655"/>
                    </a:lnTo>
                    <a:lnTo>
                      <a:pt x="459" y="656"/>
                    </a:lnTo>
                    <a:lnTo>
                      <a:pt x="460" y="656"/>
                    </a:lnTo>
                    <a:lnTo>
                      <a:pt x="460" y="657"/>
                    </a:lnTo>
                    <a:lnTo>
                      <a:pt x="460" y="659"/>
                    </a:lnTo>
                    <a:lnTo>
                      <a:pt x="460" y="660"/>
                    </a:lnTo>
                    <a:close/>
                    <a:moveTo>
                      <a:pt x="531" y="621"/>
                    </a:moveTo>
                    <a:lnTo>
                      <a:pt x="530" y="622"/>
                    </a:lnTo>
                    <a:lnTo>
                      <a:pt x="530" y="621"/>
                    </a:lnTo>
                    <a:lnTo>
                      <a:pt x="528" y="621"/>
                    </a:lnTo>
                    <a:lnTo>
                      <a:pt x="530" y="620"/>
                    </a:lnTo>
                    <a:lnTo>
                      <a:pt x="531" y="618"/>
                    </a:lnTo>
                    <a:lnTo>
                      <a:pt x="531" y="620"/>
                    </a:lnTo>
                    <a:lnTo>
                      <a:pt x="531" y="621"/>
                    </a:lnTo>
                    <a:close/>
                    <a:moveTo>
                      <a:pt x="357" y="564"/>
                    </a:moveTo>
                    <a:lnTo>
                      <a:pt x="356" y="564"/>
                    </a:lnTo>
                    <a:lnTo>
                      <a:pt x="356" y="563"/>
                    </a:lnTo>
                    <a:lnTo>
                      <a:pt x="356" y="562"/>
                    </a:lnTo>
                    <a:lnTo>
                      <a:pt x="357" y="561"/>
                    </a:lnTo>
                    <a:lnTo>
                      <a:pt x="357" y="559"/>
                    </a:lnTo>
                    <a:lnTo>
                      <a:pt x="360" y="558"/>
                    </a:lnTo>
                    <a:lnTo>
                      <a:pt x="361" y="558"/>
                    </a:lnTo>
                    <a:lnTo>
                      <a:pt x="361" y="559"/>
                    </a:lnTo>
                    <a:lnTo>
                      <a:pt x="361" y="561"/>
                    </a:lnTo>
                    <a:lnTo>
                      <a:pt x="361" y="562"/>
                    </a:lnTo>
                    <a:lnTo>
                      <a:pt x="360" y="562"/>
                    </a:lnTo>
                    <a:lnTo>
                      <a:pt x="359" y="562"/>
                    </a:lnTo>
                    <a:lnTo>
                      <a:pt x="357" y="564"/>
                    </a:lnTo>
                    <a:close/>
                    <a:moveTo>
                      <a:pt x="303" y="457"/>
                    </a:moveTo>
                    <a:lnTo>
                      <a:pt x="300" y="458"/>
                    </a:lnTo>
                    <a:lnTo>
                      <a:pt x="299" y="457"/>
                    </a:lnTo>
                    <a:lnTo>
                      <a:pt x="299" y="456"/>
                    </a:lnTo>
                    <a:lnTo>
                      <a:pt x="300" y="455"/>
                    </a:lnTo>
                    <a:lnTo>
                      <a:pt x="301" y="453"/>
                    </a:lnTo>
                    <a:lnTo>
                      <a:pt x="303" y="453"/>
                    </a:lnTo>
                    <a:lnTo>
                      <a:pt x="304" y="452"/>
                    </a:lnTo>
                    <a:lnTo>
                      <a:pt x="306" y="452"/>
                    </a:lnTo>
                    <a:lnTo>
                      <a:pt x="307" y="452"/>
                    </a:lnTo>
                    <a:lnTo>
                      <a:pt x="304" y="453"/>
                    </a:lnTo>
                    <a:lnTo>
                      <a:pt x="305" y="455"/>
                    </a:lnTo>
                    <a:lnTo>
                      <a:pt x="304" y="456"/>
                    </a:lnTo>
                    <a:lnTo>
                      <a:pt x="304" y="457"/>
                    </a:lnTo>
                    <a:lnTo>
                      <a:pt x="303" y="457"/>
                    </a:lnTo>
                    <a:close/>
                    <a:moveTo>
                      <a:pt x="763" y="388"/>
                    </a:moveTo>
                    <a:lnTo>
                      <a:pt x="762" y="411"/>
                    </a:lnTo>
                    <a:lnTo>
                      <a:pt x="761" y="434"/>
                    </a:lnTo>
                    <a:lnTo>
                      <a:pt x="760" y="457"/>
                    </a:lnTo>
                    <a:lnTo>
                      <a:pt x="759" y="480"/>
                    </a:lnTo>
                    <a:lnTo>
                      <a:pt x="758" y="502"/>
                    </a:lnTo>
                    <a:lnTo>
                      <a:pt x="756" y="526"/>
                    </a:lnTo>
                    <a:lnTo>
                      <a:pt x="754" y="548"/>
                    </a:lnTo>
                    <a:lnTo>
                      <a:pt x="753" y="571"/>
                    </a:lnTo>
                    <a:lnTo>
                      <a:pt x="752" y="593"/>
                    </a:lnTo>
                    <a:lnTo>
                      <a:pt x="752" y="592"/>
                    </a:lnTo>
                    <a:lnTo>
                      <a:pt x="751" y="591"/>
                    </a:lnTo>
                    <a:lnTo>
                      <a:pt x="749" y="597"/>
                    </a:lnTo>
                    <a:lnTo>
                      <a:pt x="748" y="633"/>
                    </a:lnTo>
                    <a:lnTo>
                      <a:pt x="746" y="670"/>
                    </a:lnTo>
                    <a:lnTo>
                      <a:pt x="744" y="706"/>
                    </a:lnTo>
                    <a:lnTo>
                      <a:pt x="743" y="744"/>
                    </a:lnTo>
                    <a:lnTo>
                      <a:pt x="740" y="780"/>
                    </a:lnTo>
                    <a:lnTo>
                      <a:pt x="738" y="817"/>
                    </a:lnTo>
                    <a:lnTo>
                      <a:pt x="736" y="853"/>
                    </a:lnTo>
                    <a:lnTo>
                      <a:pt x="734" y="890"/>
                    </a:lnTo>
                    <a:lnTo>
                      <a:pt x="733" y="890"/>
                    </a:lnTo>
                    <a:lnTo>
                      <a:pt x="719" y="891"/>
                    </a:lnTo>
                    <a:lnTo>
                      <a:pt x="718" y="890"/>
                    </a:lnTo>
                    <a:lnTo>
                      <a:pt x="717" y="890"/>
                    </a:lnTo>
                    <a:lnTo>
                      <a:pt x="716" y="888"/>
                    </a:lnTo>
                    <a:lnTo>
                      <a:pt x="715" y="887"/>
                    </a:lnTo>
                    <a:lnTo>
                      <a:pt x="713" y="887"/>
                    </a:lnTo>
                    <a:lnTo>
                      <a:pt x="712" y="887"/>
                    </a:lnTo>
                    <a:lnTo>
                      <a:pt x="711" y="886"/>
                    </a:lnTo>
                    <a:lnTo>
                      <a:pt x="710" y="885"/>
                    </a:lnTo>
                    <a:lnTo>
                      <a:pt x="705" y="880"/>
                    </a:lnTo>
                    <a:lnTo>
                      <a:pt x="704" y="880"/>
                    </a:lnTo>
                    <a:lnTo>
                      <a:pt x="702" y="879"/>
                    </a:lnTo>
                    <a:lnTo>
                      <a:pt x="701" y="878"/>
                    </a:lnTo>
                    <a:lnTo>
                      <a:pt x="701" y="877"/>
                    </a:lnTo>
                    <a:lnTo>
                      <a:pt x="699" y="876"/>
                    </a:lnTo>
                    <a:lnTo>
                      <a:pt x="699" y="874"/>
                    </a:lnTo>
                    <a:lnTo>
                      <a:pt x="699" y="873"/>
                    </a:lnTo>
                    <a:lnTo>
                      <a:pt x="698" y="872"/>
                    </a:lnTo>
                    <a:lnTo>
                      <a:pt x="698" y="870"/>
                    </a:lnTo>
                    <a:lnTo>
                      <a:pt x="695" y="865"/>
                    </a:lnTo>
                    <a:lnTo>
                      <a:pt x="695" y="864"/>
                    </a:lnTo>
                    <a:lnTo>
                      <a:pt x="692" y="859"/>
                    </a:lnTo>
                    <a:lnTo>
                      <a:pt x="691" y="857"/>
                    </a:lnTo>
                    <a:lnTo>
                      <a:pt x="687" y="853"/>
                    </a:lnTo>
                    <a:lnTo>
                      <a:pt x="685" y="851"/>
                    </a:lnTo>
                    <a:lnTo>
                      <a:pt x="687" y="850"/>
                    </a:lnTo>
                    <a:lnTo>
                      <a:pt x="687" y="849"/>
                    </a:lnTo>
                    <a:lnTo>
                      <a:pt x="685" y="848"/>
                    </a:lnTo>
                    <a:lnTo>
                      <a:pt x="684" y="846"/>
                    </a:lnTo>
                    <a:lnTo>
                      <a:pt x="683" y="845"/>
                    </a:lnTo>
                    <a:lnTo>
                      <a:pt x="682" y="845"/>
                    </a:lnTo>
                    <a:lnTo>
                      <a:pt x="681" y="844"/>
                    </a:lnTo>
                    <a:lnTo>
                      <a:pt x="681" y="845"/>
                    </a:lnTo>
                    <a:lnTo>
                      <a:pt x="681" y="846"/>
                    </a:lnTo>
                    <a:lnTo>
                      <a:pt x="679" y="845"/>
                    </a:lnTo>
                    <a:lnTo>
                      <a:pt x="668" y="828"/>
                    </a:lnTo>
                    <a:lnTo>
                      <a:pt x="667" y="824"/>
                    </a:lnTo>
                    <a:lnTo>
                      <a:pt x="666" y="822"/>
                    </a:lnTo>
                    <a:lnTo>
                      <a:pt x="666" y="821"/>
                    </a:lnTo>
                    <a:lnTo>
                      <a:pt x="667" y="821"/>
                    </a:lnTo>
                    <a:lnTo>
                      <a:pt x="668" y="820"/>
                    </a:lnTo>
                    <a:lnTo>
                      <a:pt x="668" y="817"/>
                    </a:lnTo>
                    <a:lnTo>
                      <a:pt x="668" y="816"/>
                    </a:lnTo>
                    <a:lnTo>
                      <a:pt x="667" y="815"/>
                    </a:lnTo>
                    <a:lnTo>
                      <a:pt x="666" y="813"/>
                    </a:lnTo>
                    <a:lnTo>
                      <a:pt x="666" y="810"/>
                    </a:lnTo>
                    <a:lnTo>
                      <a:pt x="666" y="809"/>
                    </a:lnTo>
                    <a:lnTo>
                      <a:pt x="665" y="808"/>
                    </a:lnTo>
                    <a:lnTo>
                      <a:pt x="662" y="807"/>
                    </a:lnTo>
                    <a:lnTo>
                      <a:pt x="662" y="806"/>
                    </a:lnTo>
                    <a:lnTo>
                      <a:pt x="662" y="804"/>
                    </a:lnTo>
                    <a:lnTo>
                      <a:pt x="669" y="801"/>
                    </a:lnTo>
                    <a:lnTo>
                      <a:pt x="670" y="800"/>
                    </a:lnTo>
                    <a:lnTo>
                      <a:pt x="673" y="797"/>
                    </a:lnTo>
                    <a:lnTo>
                      <a:pt x="674" y="795"/>
                    </a:lnTo>
                    <a:lnTo>
                      <a:pt x="674" y="792"/>
                    </a:lnTo>
                    <a:lnTo>
                      <a:pt x="674" y="782"/>
                    </a:lnTo>
                    <a:lnTo>
                      <a:pt x="674" y="781"/>
                    </a:lnTo>
                    <a:lnTo>
                      <a:pt x="667" y="762"/>
                    </a:lnTo>
                    <a:lnTo>
                      <a:pt x="662" y="750"/>
                    </a:lnTo>
                    <a:lnTo>
                      <a:pt x="659" y="740"/>
                    </a:lnTo>
                    <a:lnTo>
                      <a:pt x="658" y="739"/>
                    </a:lnTo>
                    <a:lnTo>
                      <a:pt x="655" y="737"/>
                    </a:lnTo>
                    <a:lnTo>
                      <a:pt x="653" y="733"/>
                    </a:lnTo>
                    <a:lnTo>
                      <a:pt x="653" y="732"/>
                    </a:lnTo>
                    <a:lnTo>
                      <a:pt x="653" y="731"/>
                    </a:lnTo>
                    <a:lnTo>
                      <a:pt x="642" y="719"/>
                    </a:lnTo>
                    <a:lnTo>
                      <a:pt x="638" y="715"/>
                    </a:lnTo>
                    <a:lnTo>
                      <a:pt x="635" y="713"/>
                    </a:lnTo>
                    <a:lnTo>
                      <a:pt x="634" y="711"/>
                    </a:lnTo>
                    <a:lnTo>
                      <a:pt x="632" y="710"/>
                    </a:lnTo>
                    <a:lnTo>
                      <a:pt x="630" y="708"/>
                    </a:lnTo>
                    <a:lnTo>
                      <a:pt x="628" y="706"/>
                    </a:lnTo>
                    <a:lnTo>
                      <a:pt x="626" y="705"/>
                    </a:lnTo>
                    <a:lnTo>
                      <a:pt x="624" y="704"/>
                    </a:lnTo>
                    <a:lnTo>
                      <a:pt x="621" y="702"/>
                    </a:lnTo>
                    <a:lnTo>
                      <a:pt x="624" y="701"/>
                    </a:lnTo>
                    <a:lnTo>
                      <a:pt x="626" y="703"/>
                    </a:lnTo>
                    <a:lnTo>
                      <a:pt x="646" y="723"/>
                    </a:lnTo>
                    <a:lnTo>
                      <a:pt x="652" y="729"/>
                    </a:lnTo>
                    <a:lnTo>
                      <a:pt x="655" y="732"/>
                    </a:lnTo>
                    <a:lnTo>
                      <a:pt x="659" y="738"/>
                    </a:lnTo>
                    <a:lnTo>
                      <a:pt x="661" y="743"/>
                    </a:lnTo>
                    <a:lnTo>
                      <a:pt x="663" y="751"/>
                    </a:lnTo>
                    <a:lnTo>
                      <a:pt x="665" y="752"/>
                    </a:lnTo>
                    <a:lnTo>
                      <a:pt x="665" y="748"/>
                    </a:lnTo>
                    <a:lnTo>
                      <a:pt x="661" y="740"/>
                    </a:lnTo>
                    <a:lnTo>
                      <a:pt x="661" y="737"/>
                    </a:lnTo>
                    <a:lnTo>
                      <a:pt x="660" y="736"/>
                    </a:lnTo>
                    <a:lnTo>
                      <a:pt x="654" y="726"/>
                    </a:lnTo>
                    <a:lnTo>
                      <a:pt x="653" y="725"/>
                    </a:lnTo>
                    <a:lnTo>
                      <a:pt x="651" y="725"/>
                    </a:lnTo>
                    <a:lnTo>
                      <a:pt x="649" y="724"/>
                    </a:lnTo>
                    <a:lnTo>
                      <a:pt x="648" y="722"/>
                    </a:lnTo>
                    <a:lnTo>
                      <a:pt x="637" y="711"/>
                    </a:lnTo>
                    <a:lnTo>
                      <a:pt x="637" y="710"/>
                    </a:lnTo>
                    <a:lnTo>
                      <a:pt x="632" y="706"/>
                    </a:lnTo>
                    <a:lnTo>
                      <a:pt x="630" y="704"/>
                    </a:lnTo>
                    <a:lnTo>
                      <a:pt x="628" y="704"/>
                    </a:lnTo>
                    <a:lnTo>
                      <a:pt x="628" y="703"/>
                    </a:lnTo>
                    <a:lnTo>
                      <a:pt x="628" y="702"/>
                    </a:lnTo>
                    <a:lnTo>
                      <a:pt x="630" y="702"/>
                    </a:lnTo>
                    <a:lnTo>
                      <a:pt x="631" y="702"/>
                    </a:lnTo>
                    <a:lnTo>
                      <a:pt x="631" y="701"/>
                    </a:lnTo>
                    <a:lnTo>
                      <a:pt x="632" y="699"/>
                    </a:lnTo>
                    <a:lnTo>
                      <a:pt x="633" y="697"/>
                    </a:lnTo>
                    <a:lnTo>
                      <a:pt x="634" y="696"/>
                    </a:lnTo>
                    <a:lnTo>
                      <a:pt x="635" y="697"/>
                    </a:lnTo>
                    <a:lnTo>
                      <a:pt x="638" y="698"/>
                    </a:lnTo>
                    <a:lnTo>
                      <a:pt x="639" y="699"/>
                    </a:lnTo>
                    <a:lnTo>
                      <a:pt x="640" y="699"/>
                    </a:lnTo>
                    <a:lnTo>
                      <a:pt x="640" y="701"/>
                    </a:lnTo>
                    <a:lnTo>
                      <a:pt x="641" y="702"/>
                    </a:lnTo>
                    <a:lnTo>
                      <a:pt x="640" y="703"/>
                    </a:lnTo>
                    <a:lnTo>
                      <a:pt x="640" y="704"/>
                    </a:lnTo>
                    <a:lnTo>
                      <a:pt x="640" y="705"/>
                    </a:lnTo>
                    <a:lnTo>
                      <a:pt x="640" y="706"/>
                    </a:lnTo>
                    <a:lnTo>
                      <a:pt x="641" y="706"/>
                    </a:lnTo>
                    <a:lnTo>
                      <a:pt x="641" y="708"/>
                    </a:lnTo>
                    <a:lnTo>
                      <a:pt x="641" y="709"/>
                    </a:lnTo>
                    <a:lnTo>
                      <a:pt x="640" y="709"/>
                    </a:lnTo>
                    <a:lnTo>
                      <a:pt x="639" y="710"/>
                    </a:lnTo>
                    <a:lnTo>
                      <a:pt x="640" y="711"/>
                    </a:lnTo>
                    <a:lnTo>
                      <a:pt x="644" y="711"/>
                    </a:lnTo>
                    <a:lnTo>
                      <a:pt x="645" y="712"/>
                    </a:lnTo>
                    <a:lnTo>
                      <a:pt x="646" y="711"/>
                    </a:lnTo>
                    <a:lnTo>
                      <a:pt x="646" y="710"/>
                    </a:lnTo>
                    <a:lnTo>
                      <a:pt x="646" y="708"/>
                    </a:lnTo>
                    <a:lnTo>
                      <a:pt x="647" y="706"/>
                    </a:lnTo>
                    <a:lnTo>
                      <a:pt x="648" y="705"/>
                    </a:lnTo>
                    <a:lnTo>
                      <a:pt x="647" y="704"/>
                    </a:lnTo>
                    <a:lnTo>
                      <a:pt x="644" y="699"/>
                    </a:lnTo>
                    <a:lnTo>
                      <a:pt x="642" y="699"/>
                    </a:lnTo>
                    <a:lnTo>
                      <a:pt x="640" y="698"/>
                    </a:lnTo>
                    <a:lnTo>
                      <a:pt x="640" y="697"/>
                    </a:lnTo>
                    <a:lnTo>
                      <a:pt x="642" y="696"/>
                    </a:lnTo>
                    <a:lnTo>
                      <a:pt x="644" y="696"/>
                    </a:lnTo>
                    <a:lnTo>
                      <a:pt x="645" y="696"/>
                    </a:lnTo>
                    <a:lnTo>
                      <a:pt x="647" y="697"/>
                    </a:lnTo>
                    <a:lnTo>
                      <a:pt x="648" y="696"/>
                    </a:lnTo>
                    <a:lnTo>
                      <a:pt x="649" y="696"/>
                    </a:lnTo>
                    <a:lnTo>
                      <a:pt x="649" y="695"/>
                    </a:lnTo>
                    <a:lnTo>
                      <a:pt x="648" y="694"/>
                    </a:lnTo>
                    <a:lnTo>
                      <a:pt x="648" y="692"/>
                    </a:lnTo>
                    <a:lnTo>
                      <a:pt x="648" y="689"/>
                    </a:lnTo>
                    <a:lnTo>
                      <a:pt x="648" y="688"/>
                    </a:lnTo>
                    <a:lnTo>
                      <a:pt x="647" y="688"/>
                    </a:lnTo>
                    <a:lnTo>
                      <a:pt x="646" y="689"/>
                    </a:lnTo>
                    <a:lnTo>
                      <a:pt x="645" y="687"/>
                    </a:lnTo>
                    <a:lnTo>
                      <a:pt x="644" y="684"/>
                    </a:lnTo>
                    <a:lnTo>
                      <a:pt x="640" y="683"/>
                    </a:lnTo>
                    <a:lnTo>
                      <a:pt x="638" y="683"/>
                    </a:lnTo>
                    <a:lnTo>
                      <a:pt x="638" y="684"/>
                    </a:lnTo>
                    <a:lnTo>
                      <a:pt x="639" y="684"/>
                    </a:lnTo>
                    <a:lnTo>
                      <a:pt x="638" y="685"/>
                    </a:lnTo>
                    <a:lnTo>
                      <a:pt x="635" y="687"/>
                    </a:lnTo>
                    <a:lnTo>
                      <a:pt x="634" y="688"/>
                    </a:lnTo>
                    <a:lnTo>
                      <a:pt x="633" y="689"/>
                    </a:lnTo>
                    <a:lnTo>
                      <a:pt x="631" y="689"/>
                    </a:lnTo>
                    <a:lnTo>
                      <a:pt x="630" y="688"/>
                    </a:lnTo>
                    <a:lnTo>
                      <a:pt x="628" y="688"/>
                    </a:lnTo>
                    <a:lnTo>
                      <a:pt x="626" y="689"/>
                    </a:lnTo>
                    <a:lnTo>
                      <a:pt x="625" y="690"/>
                    </a:lnTo>
                    <a:lnTo>
                      <a:pt x="624" y="691"/>
                    </a:lnTo>
                    <a:lnTo>
                      <a:pt x="624" y="694"/>
                    </a:lnTo>
                    <a:lnTo>
                      <a:pt x="625" y="695"/>
                    </a:lnTo>
                    <a:lnTo>
                      <a:pt x="627" y="695"/>
                    </a:lnTo>
                    <a:lnTo>
                      <a:pt x="628" y="696"/>
                    </a:lnTo>
                    <a:lnTo>
                      <a:pt x="628" y="697"/>
                    </a:lnTo>
                    <a:lnTo>
                      <a:pt x="627" y="698"/>
                    </a:lnTo>
                    <a:lnTo>
                      <a:pt x="626" y="697"/>
                    </a:lnTo>
                    <a:lnTo>
                      <a:pt x="625" y="697"/>
                    </a:lnTo>
                    <a:lnTo>
                      <a:pt x="621" y="696"/>
                    </a:lnTo>
                    <a:lnTo>
                      <a:pt x="620" y="695"/>
                    </a:lnTo>
                    <a:lnTo>
                      <a:pt x="620" y="694"/>
                    </a:lnTo>
                    <a:lnTo>
                      <a:pt x="619" y="694"/>
                    </a:lnTo>
                    <a:lnTo>
                      <a:pt x="615" y="694"/>
                    </a:lnTo>
                    <a:lnTo>
                      <a:pt x="615" y="695"/>
                    </a:lnTo>
                    <a:lnTo>
                      <a:pt x="616" y="696"/>
                    </a:lnTo>
                    <a:lnTo>
                      <a:pt x="620" y="697"/>
                    </a:lnTo>
                    <a:lnTo>
                      <a:pt x="621" y="697"/>
                    </a:lnTo>
                    <a:lnTo>
                      <a:pt x="623" y="698"/>
                    </a:lnTo>
                    <a:lnTo>
                      <a:pt x="624" y="698"/>
                    </a:lnTo>
                    <a:lnTo>
                      <a:pt x="625" y="698"/>
                    </a:lnTo>
                    <a:lnTo>
                      <a:pt x="626" y="699"/>
                    </a:lnTo>
                    <a:lnTo>
                      <a:pt x="625" y="701"/>
                    </a:lnTo>
                    <a:lnTo>
                      <a:pt x="624" y="701"/>
                    </a:lnTo>
                    <a:lnTo>
                      <a:pt x="623" y="701"/>
                    </a:lnTo>
                    <a:lnTo>
                      <a:pt x="621" y="699"/>
                    </a:lnTo>
                    <a:lnTo>
                      <a:pt x="620" y="699"/>
                    </a:lnTo>
                    <a:lnTo>
                      <a:pt x="619" y="701"/>
                    </a:lnTo>
                    <a:lnTo>
                      <a:pt x="618" y="701"/>
                    </a:lnTo>
                    <a:lnTo>
                      <a:pt x="616" y="698"/>
                    </a:lnTo>
                    <a:lnTo>
                      <a:pt x="615" y="698"/>
                    </a:lnTo>
                    <a:lnTo>
                      <a:pt x="611" y="698"/>
                    </a:lnTo>
                    <a:lnTo>
                      <a:pt x="606" y="699"/>
                    </a:lnTo>
                    <a:lnTo>
                      <a:pt x="605" y="701"/>
                    </a:lnTo>
                    <a:lnTo>
                      <a:pt x="604" y="702"/>
                    </a:lnTo>
                    <a:lnTo>
                      <a:pt x="604" y="703"/>
                    </a:lnTo>
                    <a:lnTo>
                      <a:pt x="603" y="703"/>
                    </a:lnTo>
                    <a:lnTo>
                      <a:pt x="601" y="705"/>
                    </a:lnTo>
                    <a:lnTo>
                      <a:pt x="598" y="706"/>
                    </a:lnTo>
                    <a:lnTo>
                      <a:pt x="592" y="706"/>
                    </a:lnTo>
                    <a:lnTo>
                      <a:pt x="583" y="705"/>
                    </a:lnTo>
                    <a:lnTo>
                      <a:pt x="582" y="706"/>
                    </a:lnTo>
                    <a:lnTo>
                      <a:pt x="581" y="706"/>
                    </a:lnTo>
                    <a:lnTo>
                      <a:pt x="580" y="706"/>
                    </a:lnTo>
                    <a:lnTo>
                      <a:pt x="578" y="708"/>
                    </a:lnTo>
                    <a:lnTo>
                      <a:pt x="577" y="706"/>
                    </a:lnTo>
                    <a:lnTo>
                      <a:pt x="576" y="706"/>
                    </a:lnTo>
                    <a:lnTo>
                      <a:pt x="573" y="703"/>
                    </a:lnTo>
                    <a:lnTo>
                      <a:pt x="573" y="702"/>
                    </a:lnTo>
                    <a:lnTo>
                      <a:pt x="574" y="699"/>
                    </a:lnTo>
                    <a:lnTo>
                      <a:pt x="574" y="698"/>
                    </a:lnTo>
                    <a:lnTo>
                      <a:pt x="575" y="697"/>
                    </a:lnTo>
                    <a:lnTo>
                      <a:pt x="576" y="696"/>
                    </a:lnTo>
                    <a:lnTo>
                      <a:pt x="582" y="694"/>
                    </a:lnTo>
                    <a:lnTo>
                      <a:pt x="584" y="692"/>
                    </a:lnTo>
                    <a:lnTo>
                      <a:pt x="585" y="690"/>
                    </a:lnTo>
                    <a:lnTo>
                      <a:pt x="588" y="688"/>
                    </a:lnTo>
                    <a:lnTo>
                      <a:pt x="589" y="687"/>
                    </a:lnTo>
                    <a:lnTo>
                      <a:pt x="589" y="685"/>
                    </a:lnTo>
                    <a:lnTo>
                      <a:pt x="590" y="685"/>
                    </a:lnTo>
                    <a:lnTo>
                      <a:pt x="591" y="685"/>
                    </a:lnTo>
                    <a:lnTo>
                      <a:pt x="592" y="684"/>
                    </a:lnTo>
                    <a:lnTo>
                      <a:pt x="594" y="683"/>
                    </a:lnTo>
                    <a:lnTo>
                      <a:pt x="594" y="682"/>
                    </a:lnTo>
                    <a:lnTo>
                      <a:pt x="594" y="678"/>
                    </a:lnTo>
                    <a:lnTo>
                      <a:pt x="594" y="677"/>
                    </a:lnTo>
                    <a:lnTo>
                      <a:pt x="595" y="677"/>
                    </a:lnTo>
                    <a:lnTo>
                      <a:pt x="595" y="676"/>
                    </a:lnTo>
                    <a:lnTo>
                      <a:pt x="596" y="676"/>
                    </a:lnTo>
                    <a:lnTo>
                      <a:pt x="596" y="675"/>
                    </a:lnTo>
                    <a:lnTo>
                      <a:pt x="596" y="674"/>
                    </a:lnTo>
                    <a:lnTo>
                      <a:pt x="595" y="673"/>
                    </a:lnTo>
                    <a:lnTo>
                      <a:pt x="595" y="671"/>
                    </a:lnTo>
                    <a:lnTo>
                      <a:pt x="595" y="670"/>
                    </a:lnTo>
                    <a:lnTo>
                      <a:pt x="596" y="667"/>
                    </a:lnTo>
                    <a:lnTo>
                      <a:pt x="596" y="666"/>
                    </a:lnTo>
                    <a:lnTo>
                      <a:pt x="598" y="662"/>
                    </a:lnTo>
                    <a:lnTo>
                      <a:pt x="598" y="661"/>
                    </a:lnTo>
                    <a:lnTo>
                      <a:pt x="598" y="659"/>
                    </a:lnTo>
                    <a:lnTo>
                      <a:pt x="597" y="652"/>
                    </a:lnTo>
                    <a:lnTo>
                      <a:pt x="597" y="649"/>
                    </a:lnTo>
                    <a:lnTo>
                      <a:pt x="598" y="643"/>
                    </a:lnTo>
                    <a:lnTo>
                      <a:pt x="598" y="641"/>
                    </a:lnTo>
                    <a:lnTo>
                      <a:pt x="599" y="641"/>
                    </a:lnTo>
                    <a:lnTo>
                      <a:pt x="601" y="642"/>
                    </a:lnTo>
                    <a:lnTo>
                      <a:pt x="602" y="643"/>
                    </a:lnTo>
                    <a:lnTo>
                      <a:pt x="602" y="642"/>
                    </a:lnTo>
                    <a:lnTo>
                      <a:pt x="602" y="641"/>
                    </a:lnTo>
                    <a:lnTo>
                      <a:pt x="601" y="640"/>
                    </a:lnTo>
                    <a:lnTo>
                      <a:pt x="599" y="639"/>
                    </a:lnTo>
                    <a:lnTo>
                      <a:pt x="598" y="639"/>
                    </a:lnTo>
                    <a:lnTo>
                      <a:pt x="598" y="638"/>
                    </a:lnTo>
                    <a:lnTo>
                      <a:pt x="598" y="636"/>
                    </a:lnTo>
                    <a:lnTo>
                      <a:pt x="597" y="636"/>
                    </a:lnTo>
                    <a:lnTo>
                      <a:pt x="596" y="635"/>
                    </a:lnTo>
                    <a:lnTo>
                      <a:pt x="595" y="634"/>
                    </a:lnTo>
                    <a:lnTo>
                      <a:pt x="595" y="633"/>
                    </a:lnTo>
                    <a:lnTo>
                      <a:pt x="595" y="632"/>
                    </a:lnTo>
                    <a:lnTo>
                      <a:pt x="592" y="629"/>
                    </a:lnTo>
                    <a:lnTo>
                      <a:pt x="591" y="628"/>
                    </a:lnTo>
                    <a:lnTo>
                      <a:pt x="590" y="627"/>
                    </a:lnTo>
                    <a:lnTo>
                      <a:pt x="590" y="625"/>
                    </a:lnTo>
                    <a:lnTo>
                      <a:pt x="589" y="622"/>
                    </a:lnTo>
                    <a:lnTo>
                      <a:pt x="587" y="621"/>
                    </a:lnTo>
                    <a:lnTo>
                      <a:pt x="585" y="620"/>
                    </a:lnTo>
                    <a:lnTo>
                      <a:pt x="585" y="617"/>
                    </a:lnTo>
                    <a:lnTo>
                      <a:pt x="583" y="608"/>
                    </a:lnTo>
                    <a:lnTo>
                      <a:pt x="582" y="606"/>
                    </a:lnTo>
                    <a:lnTo>
                      <a:pt x="580" y="605"/>
                    </a:lnTo>
                    <a:lnTo>
                      <a:pt x="580" y="604"/>
                    </a:lnTo>
                    <a:lnTo>
                      <a:pt x="578" y="603"/>
                    </a:lnTo>
                    <a:lnTo>
                      <a:pt x="580" y="601"/>
                    </a:lnTo>
                    <a:lnTo>
                      <a:pt x="580" y="600"/>
                    </a:lnTo>
                    <a:lnTo>
                      <a:pt x="576" y="594"/>
                    </a:lnTo>
                    <a:lnTo>
                      <a:pt x="575" y="593"/>
                    </a:lnTo>
                    <a:lnTo>
                      <a:pt x="574" y="594"/>
                    </a:lnTo>
                    <a:lnTo>
                      <a:pt x="574" y="597"/>
                    </a:lnTo>
                    <a:lnTo>
                      <a:pt x="573" y="598"/>
                    </a:lnTo>
                    <a:lnTo>
                      <a:pt x="570" y="601"/>
                    </a:lnTo>
                    <a:lnTo>
                      <a:pt x="570" y="603"/>
                    </a:lnTo>
                    <a:lnTo>
                      <a:pt x="570" y="604"/>
                    </a:lnTo>
                    <a:lnTo>
                      <a:pt x="571" y="605"/>
                    </a:lnTo>
                    <a:lnTo>
                      <a:pt x="571" y="606"/>
                    </a:lnTo>
                    <a:lnTo>
                      <a:pt x="571" y="607"/>
                    </a:lnTo>
                    <a:lnTo>
                      <a:pt x="569" y="611"/>
                    </a:lnTo>
                    <a:lnTo>
                      <a:pt x="566" y="614"/>
                    </a:lnTo>
                    <a:lnTo>
                      <a:pt x="564" y="615"/>
                    </a:lnTo>
                    <a:lnTo>
                      <a:pt x="562" y="622"/>
                    </a:lnTo>
                    <a:lnTo>
                      <a:pt x="562" y="624"/>
                    </a:lnTo>
                    <a:lnTo>
                      <a:pt x="562" y="626"/>
                    </a:lnTo>
                    <a:lnTo>
                      <a:pt x="562" y="627"/>
                    </a:lnTo>
                    <a:lnTo>
                      <a:pt x="563" y="629"/>
                    </a:lnTo>
                    <a:lnTo>
                      <a:pt x="562" y="631"/>
                    </a:lnTo>
                    <a:lnTo>
                      <a:pt x="562" y="633"/>
                    </a:lnTo>
                    <a:lnTo>
                      <a:pt x="561" y="634"/>
                    </a:lnTo>
                    <a:lnTo>
                      <a:pt x="561" y="640"/>
                    </a:lnTo>
                    <a:lnTo>
                      <a:pt x="561" y="641"/>
                    </a:lnTo>
                    <a:lnTo>
                      <a:pt x="560" y="641"/>
                    </a:lnTo>
                    <a:lnTo>
                      <a:pt x="559" y="643"/>
                    </a:lnTo>
                    <a:lnTo>
                      <a:pt x="559" y="645"/>
                    </a:lnTo>
                    <a:lnTo>
                      <a:pt x="557" y="646"/>
                    </a:lnTo>
                    <a:lnTo>
                      <a:pt x="557" y="647"/>
                    </a:lnTo>
                    <a:lnTo>
                      <a:pt x="557" y="648"/>
                    </a:lnTo>
                    <a:lnTo>
                      <a:pt x="556" y="652"/>
                    </a:lnTo>
                    <a:lnTo>
                      <a:pt x="554" y="655"/>
                    </a:lnTo>
                    <a:lnTo>
                      <a:pt x="554" y="657"/>
                    </a:lnTo>
                    <a:lnTo>
                      <a:pt x="554" y="660"/>
                    </a:lnTo>
                    <a:lnTo>
                      <a:pt x="553" y="661"/>
                    </a:lnTo>
                    <a:lnTo>
                      <a:pt x="553" y="663"/>
                    </a:lnTo>
                    <a:lnTo>
                      <a:pt x="553" y="667"/>
                    </a:lnTo>
                    <a:lnTo>
                      <a:pt x="551" y="668"/>
                    </a:lnTo>
                    <a:lnTo>
                      <a:pt x="549" y="669"/>
                    </a:lnTo>
                    <a:lnTo>
                      <a:pt x="548" y="670"/>
                    </a:lnTo>
                    <a:lnTo>
                      <a:pt x="545" y="669"/>
                    </a:lnTo>
                    <a:lnTo>
                      <a:pt x="542" y="667"/>
                    </a:lnTo>
                    <a:lnTo>
                      <a:pt x="541" y="667"/>
                    </a:lnTo>
                    <a:lnTo>
                      <a:pt x="540" y="666"/>
                    </a:lnTo>
                    <a:lnTo>
                      <a:pt x="539" y="666"/>
                    </a:lnTo>
                    <a:lnTo>
                      <a:pt x="538" y="666"/>
                    </a:lnTo>
                    <a:lnTo>
                      <a:pt x="537" y="666"/>
                    </a:lnTo>
                    <a:lnTo>
                      <a:pt x="534" y="664"/>
                    </a:lnTo>
                    <a:lnTo>
                      <a:pt x="533" y="666"/>
                    </a:lnTo>
                    <a:lnTo>
                      <a:pt x="532" y="666"/>
                    </a:lnTo>
                    <a:lnTo>
                      <a:pt x="531" y="667"/>
                    </a:lnTo>
                    <a:lnTo>
                      <a:pt x="528" y="668"/>
                    </a:lnTo>
                    <a:lnTo>
                      <a:pt x="527" y="669"/>
                    </a:lnTo>
                    <a:lnTo>
                      <a:pt x="523" y="668"/>
                    </a:lnTo>
                    <a:lnTo>
                      <a:pt x="521" y="669"/>
                    </a:lnTo>
                    <a:lnTo>
                      <a:pt x="520" y="670"/>
                    </a:lnTo>
                    <a:lnTo>
                      <a:pt x="519" y="673"/>
                    </a:lnTo>
                    <a:lnTo>
                      <a:pt x="518" y="674"/>
                    </a:lnTo>
                    <a:lnTo>
                      <a:pt x="514" y="674"/>
                    </a:lnTo>
                    <a:lnTo>
                      <a:pt x="511" y="673"/>
                    </a:lnTo>
                    <a:lnTo>
                      <a:pt x="510" y="673"/>
                    </a:lnTo>
                    <a:lnTo>
                      <a:pt x="506" y="675"/>
                    </a:lnTo>
                    <a:lnTo>
                      <a:pt x="504" y="676"/>
                    </a:lnTo>
                    <a:lnTo>
                      <a:pt x="502" y="677"/>
                    </a:lnTo>
                    <a:lnTo>
                      <a:pt x="499" y="677"/>
                    </a:lnTo>
                    <a:lnTo>
                      <a:pt x="498" y="675"/>
                    </a:lnTo>
                    <a:lnTo>
                      <a:pt x="498" y="674"/>
                    </a:lnTo>
                    <a:lnTo>
                      <a:pt x="497" y="674"/>
                    </a:lnTo>
                    <a:lnTo>
                      <a:pt x="498" y="674"/>
                    </a:lnTo>
                    <a:lnTo>
                      <a:pt x="498" y="673"/>
                    </a:lnTo>
                    <a:lnTo>
                      <a:pt x="498" y="671"/>
                    </a:lnTo>
                    <a:lnTo>
                      <a:pt x="499" y="670"/>
                    </a:lnTo>
                    <a:lnTo>
                      <a:pt x="500" y="669"/>
                    </a:lnTo>
                    <a:lnTo>
                      <a:pt x="502" y="669"/>
                    </a:lnTo>
                    <a:lnTo>
                      <a:pt x="502" y="668"/>
                    </a:lnTo>
                    <a:lnTo>
                      <a:pt x="503" y="667"/>
                    </a:lnTo>
                    <a:lnTo>
                      <a:pt x="504" y="667"/>
                    </a:lnTo>
                    <a:lnTo>
                      <a:pt x="504" y="666"/>
                    </a:lnTo>
                    <a:lnTo>
                      <a:pt x="505" y="663"/>
                    </a:lnTo>
                    <a:lnTo>
                      <a:pt x="505" y="662"/>
                    </a:lnTo>
                    <a:lnTo>
                      <a:pt x="505" y="660"/>
                    </a:lnTo>
                    <a:lnTo>
                      <a:pt x="505" y="659"/>
                    </a:lnTo>
                    <a:lnTo>
                      <a:pt x="504" y="659"/>
                    </a:lnTo>
                    <a:lnTo>
                      <a:pt x="504" y="657"/>
                    </a:lnTo>
                    <a:lnTo>
                      <a:pt x="505" y="656"/>
                    </a:lnTo>
                    <a:lnTo>
                      <a:pt x="506" y="655"/>
                    </a:lnTo>
                    <a:lnTo>
                      <a:pt x="506" y="653"/>
                    </a:lnTo>
                    <a:lnTo>
                      <a:pt x="509" y="649"/>
                    </a:lnTo>
                    <a:lnTo>
                      <a:pt x="509" y="648"/>
                    </a:lnTo>
                    <a:lnTo>
                      <a:pt x="510" y="648"/>
                    </a:lnTo>
                    <a:lnTo>
                      <a:pt x="513" y="650"/>
                    </a:lnTo>
                    <a:lnTo>
                      <a:pt x="517" y="650"/>
                    </a:lnTo>
                    <a:lnTo>
                      <a:pt x="521" y="649"/>
                    </a:lnTo>
                    <a:lnTo>
                      <a:pt x="524" y="649"/>
                    </a:lnTo>
                    <a:lnTo>
                      <a:pt x="525" y="649"/>
                    </a:lnTo>
                    <a:lnTo>
                      <a:pt x="526" y="650"/>
                    </a:lnTo>
                    <a:lnTo>
                      <a:pt x="530" y="652"/>
                    </a:lnTo>
                    <a:lnTo>
                      <a:pt x="531" y="653"/>
                    </a:lnTo>
                    <a:lnTo>
                      <a:pt x="532" y="653"/>
                    </a:lnTo>
                    <a:lnTo>
                      <a:pt x="533" y="653"/>
                    </a:lnTo>
                    <a:lnTo>
                      <a:pt x="534" y="650"/>
                    </a:lnTo>
                    <a:lnTo>
                      <a:pt x="535" y="648"/>
                    </a:lnTo>
                    <a:lnTo>
                      <a:pt x="535" y="645"/>
                    </a:lnTo>
                    <a:lnTo>
                      <a:pt x="535" y="642"/>
                    </a:lnTo>
                    <a:lnTo>
                      <a:pt x="537" y="640"/>
                    </a:lnTo>
                    <a:lnTo>
                      <a:pt x="537" y="639"/>
                    </a:lnTo>
                    <a:lnTo>
                      <a:pt x="537" y="638"/>
                    </a:lnTo>
                    <a:lnTo>
                      <a:pt x="537" y="636"/>
                    </a:lnTo>
                    <a:lnTo>
                      <a:pt x="538" y="635"/>
                    </a:lnTo>
                    <a:lnTo>
                      <a:pt x="539" y="628"/>
                    </a:lnTo>
                    <a:lnTo>
                      <a:pt x="539" y="626"/>
                    </a:lnTo>
                    <a:lnTo>
                      <a:pt x="539" y="624"/>
                    </a:lnTo>
                    <a:lnTo>
                      <a:pt x="538" y="621"/>
                    </a:lnTo>
                    <a:lnTo>
                      <a:pt x="538" y="619"/>
                    </a:lnTo>
                    <a:lnTo>
                      <a:pt x="538" y="618"/>
                    </a:lnTo>
                    <a:lnTo>
                      <a:pt x="537" y="615"/>
                    </a:lnTo>
                    <a:lnTo>
                      <a:pt x="535" y="617"/>
                    </a:lnTo>
                    <a:lnTo>
                      <a:pt x="534" y="618"/>
                    </a:lnTo>
                    <a:lnTo>
                      <a:pt x="534" y="617"/>
                    </a:lnTo>
                    <a:lnTo>
                      <a:pt x="535" y="614"/>
                    </a:lnTo>
                    <a:lnTo>
                      <a:pt x="535" y="613"/>
                    </a:lnTo>
                    <a:lnTo>
                      <a:pt x="537" y="613"/>
                    </a:lnTo>
                    <a:lnTo>
                      <a:pt x="538" y="612"/>
                    </a:lnTo>
                    <a:lnTo>
                      <a:pt x="538" y="611"/>
                    </a:lnTo>
                    <a:lnTo>
                      <a:pt x="538" y="610"/>
                    </a:lnTo>
                    <a:lnTo>
                      <a:pt x="539" y="604"/>
                    </a:lnTo>
                    <a:lnTo>
                      <a:pt x="539" y="603"/>
                    </a:lnTo>
                    <a:lnTo>
                      <a:pt x="539" y="600"/>
                    </a:lnTo>
                    <a:lnTo>
                      <a:pt x="539" y="599"/>
                    </a:lnTo>
                    <a:lnTo>
                      <a:pt x="538" y="598"/>
                    </a:lnTo>
                    <a:lnTo>
                      <a:pt x="537" y="596"/>
                    </a:lnTo>
                    <a:lnTo>
                      <a:pt x="537" y="594"/>
                    </a:lnTo>
                    <a:lnTo>
                      <a:pt x="538" y="593"/>
                    </a:lnTo>
                    <a:lnTo>
                      <a:pt x="539" y="594"/>
                    </a:lnTo>
                    <a:lnTo>
                      <a:pt x="540" y="594"/>
                    </a:lnTo>
                    <a:lnTo>
                      <a:pt x="541" y="593"/>
                    </a:lnTo>
                    <a:lnTo>
                      <a:pt x="542" y="590"/>
                    </a:lnTo>
                    <a:lnTo>
                      <a:pt x="544" y="589"/>
                    </a:lnTo>
                    <a:lnTo>
                      <a:pt x="544" y="587"/>
                    </a:lnTo>
                    <a:lnTo>
                      <a:pt x="542" y="587"/>
                    </a:lnTo>
                    <a:lnTo>
                      <a:pt x="542" y="585"/>
                    </a:lnTo>
                    <a:lnTo>
                      <a:pt x="541" y="585"/>
                    </a:lnTo>
                    <a:lnTo>
                      <a:pt x="542" y="584"/>
                    </a:lnTo>
                    <a:lnTo>
                      <a:pt x="544" y="583"/>
                    </a:lnTo>
                    <a:lnTo>
                      <a:pt x="545" y="580"/>
                    </a:lnTo>
                    <a:lnTo>
                      <a:pt x="546" y="580"/>
                    </a:lnTo>
                    <a:lnTo>
                      <a:pt x="547" y="579"/>
                    </a:lnTo>
                    <a:lnTo>
                      <a:pt x="547" y="578"/>
                    </a:lnTo>
                    <a:lnTo>
                      <a:pt x="548" y="578"/>
                    </a:lnTo>
                    <a:lnTo>
                      <a:pt x="548" y="577"/>
                    </a:lnTo>
                    <a:lnTo>
                      <a:pt x="548" y="576"/>
                    </a:lnTo>
                    <a:lnTo>
                      <a:pt x="547" y="576"/>
                    </a:lnTo>
                    <a:lnTo>
                      <a:pt x="547" y="575"/>
                    </a:lnTo>
                    <a:lnTo>
                      <a:pt x="546" y="575"/>
                    </a:lnTo>
                    <a:lnTo>
                      <a:pt x="547" y="573"/>
                    </a:lnTo>
                    <a:lnTo>
                      <a:pt x="548" y="573"/>
                    </a:lnTo>
                    <a:lnTo>
                      <a:pt x="549" y="571"/>
                    </a:lnTo>
                    <a:lnTo>
                      <a:pt x="553" y="569"/>
                    </a:lnTo>
                    <a:lnTo>
                      <a:pt x="553" y="568"/>
                    </a:lnTo>
                    <a:lnTo>
                      <a:pt x="556" y="564"/>
                    </a:lnTo>
                    <a:lnTo>
                      <a:pt x="557" y="562"/>
                    </a:lnTo>
                    <a:lnTo>
                      <a:pt x="559" y="562"/>
                    </a:lnTo>
                    <a:lnTo>
                      <a:pt x="563" y="557"/>
                    </a:lnTo>
                    <a:lnTo>
                      <a:pt x="563" y="555"/>
                    </a:lnTo>
                    <a:lnTo>
                      <a:pt x="566" y="554"/>
                    </a:lnTo>
                    <a:lnTo>
                      <a:pt x="566" y="555"/>
                    </a:lnTo>
                    <a:lnTo>
                      <a:pt x="564" y="556"/>
                    </a:lnTo>
                    <a:lnTo>
                      <a:pt x="566" y="557"/>
                    </a:lnTo>
                    <a:lnTo>
                      <a:pt x="567" y="556"/>
                    </a:lnTo>
                    <a:lnTo>
                      <a:pt x="567" y="555"/>
                    </a:lnTo>
                    <a:lnTo>
                      <a:pt x="567" y="554"/>
                    </a:lnTo>
                    <a:lnTo>
                      <a:pt x="568" y="551"/>
                    </a:lnTo>
                    <a:lnTo>
                      <a:pt x="568" y="550"/>
                    </a:lnTo>
                    <a:lnTo>
                      <a:pt x="567" y="549"/>
                    </a:lnTo>
                    <a:lnTo>
                      <a:pt x="567" y="547"/>
                    </a:lnTo>
                    <a:lnTo>
                      <a:pt x="566" y="544"/>
                    </a:lnTo>
                    <a:lnTo>
                      <a:pt x="564" y="543"/>
                    </a:lnTo>
                    <a:lnTo>
                      <a:pt x="564" y="542"/>
                    </a:lnTo>
                    <a:lnTo>
                      <a:pt x="564" y="541"/>
                    </a:lnTo>
                    <a:lnTo>
                      <a:pt x="563" y="540"/>
                    </a:lnTo>
                    <a:lnTo>
                      <a:pt x="563" y="538"/>
                    </a:lnTo>
                    <a:lnTo>
                      <a:pt x="563" y="537"/>
                    </a:lnTo>
                    <a:lnTo>
                      <a:pt x="563" y="536"/>
                    </a:lnTo>
                    <a:lnTo>
                      <a:pt x="562" y="535"/>
                    </a:lnTo>
                    <a:lnTo>
                      <a:pt x="561" y="533"/>
                    </a:lnTo>
                    <a:lnTo>
                      <a:pt x="560" y="530"/>
                    </a:lnTo>
                    <a:lnTo>
                      <a:pt x="561" y="529"/>
                    </a:lnTo>
                    <a:lnTo>
                      <a:pt x="562" y="528"/>
                    </a:lnTo>
                    <a:lnTo>
                      <a:pt x="562" y="526"/>
                    </a:lnTo>
                    <a:lnTo>
                      <a:pt x="563" y="524"/>
                    </a:lnTo>
                    <a:lnTo>
                      <a:pt x="566" y="524"/>
                    </a:lnTo>
                    <a:lnTo>
                      <a:pt x="569" y="522"/>
                    </a:lnTo>
                    <a:lnTo>
                      <a:pt x="570" y="522"/>
                    </a:lnTo>
                    <a:lnTo>
                      <a:pt x="571" y="521"/>
                    </a:lnTo>
                    <a:lnTo>
                      <a:pt x="573" y="521"/>
                    </a:lnTo>
                    <a:lnTo>
                      <a:pt x="573" y="522"/>
                    </a:lnTo>
                    <a:lnTo>
                      <a:pt x="574" y="522"/>
                    </a:lnTo>
                    <a:lnTo>
                      <a:pt x="575" y="521"/>
                    </a:lnTo>
                    <a:lnTo>
                      <a:pt x="575" y="520"/>
                    </a:lnTo>
                    <a:lnTo>
                      <a:pt x="575" y="518"/>
                    </a:lnTo>
                    <a:lnTo>
                      <a:pt x="575" y="516"/>
                    </a:lnTo>
                    <a:lnTo>
                      <a:pt x="574" y="515"/>
                    </a:lnTo>
                    <a:lnTo>
                      <a:pt x="574" y="514"/>
                    </a:lnTo>
                    <a:lnTo>
                      <a:pt x="573" y="513"/>
                    </a:lnTo>
                    <a:lnTo>
                      <a:pt x="571" y="513"/>
                    </a:lnTo>
                    <a:lnTo>
                      <a:pt x="570" y="513"/>
                    </a:lnTo>
                    <a:lnTo>
                      <a:pt x="570" y="512"/>
                    </a:lnTo>
                    <a:lnTo>
                      <a:pt x="567" y="495"/>
                    </a:lnTo>
                    <a:lnTo>
                      <a:pt x="567" y="494"/>
                    </a:lnTo>
                    <a:lnTo>
                      <a:pt x="568" y="494"/>
                    </a:lnTo>
                    <a:lnTo>
                      <a:pt x="569" y="493"/>
                    </a:lnTo>
                    <a:lnTo>
                      <a:pt x="567" y="491"/>
                    </a:lnTo>
                    <a:lnTo>
                      <a:pt x="567" y="490"/>
                    </a:lnTo>
                    <a:lnTo>
                      <a:pt x="566" y="490"/>
                    </a:lnTo>
                    <a:lnTo>
                      <a:pt x="564" y="490"/>
                    </a:lnTo>
                    <a:lnTo>
                      <a:pt x="564" y="488"/>
                    </a:lnTo>
                    <a:lnTo>
                      <a:pt x="563" y="488"/>
                    </a:lnTo>
                    <a:lnTo>
                      <a:pt x="563" y="487"/>
                    </a:lnTo>
                    <a:lnTo>
                      <a:pt x="564" y="486"/>
                    </a:lnTo>
                    <a:lnTo>
                      <a:pt x="563" y="485"/>
                    </a:lnTo>
                    <a:lnTo>
                      <a:pt x="562" y="484"/>
                    </a:lnTo>
                    <a:lnTo>
                      <a:pt x="562" y="483"/>
                    </a:lnTo>
                    <a:lnTo>
                      <a:pt x="561" y="481"/>
                    </a:lnTo>
                    <a:lnTo>
                      <a:pt x="562" y="480"/>
                    </a:lnTo>
                    <a:lnTo>
                      <a:pt x="562" y="479"/>
                    </a:lnTo>
                    <a:lnTo>
                      <a:pt x="561" y="479"/>
                    </a:lnTo>
                    <a:lnTo>
                      <a:pt x="561" y="478"/>
                    </a:lnTo>
                    <a:lnTo>
                      <a:pt x="560" y="478"/>
                    </a:lnTo>
                    <a:lnTo>
                      <a:pt x="560" y="477"/>
                    </a:lnTo>
                    <a:lnTo>
                      <a:pt x="560" y="476"/>
                    </a:lnTo>
                    <a:lnTo>
                      <a:pt x="559" y="477"/>
                    </a:lnTo>
                    <a:lnTo>
                      <a:pt x="559" y="478"/>
                    </a:lnTo>
                    <a:lnTo>
                      <a:pt x="559" y="479"/>
                    </a:lnTo>
                    <a:lnTo>
                      <a:pt x="559" y="480"/>
                    </a:lnTo>
                    <a:lnTo>
                      <a:pt x="559" y="481"/>
                    </a:lnTo>
                    <a:lnTo>
                      <a:pt x="559" y="483"/>
                    </a:lnTo>
                    <a:lnTo>
                      <a:pt x="559" y="486"/>
                    </a:lnTo>
                    <a:lnTo>
                      <a:pt x="559" y="487"/>
                    </a:lnTo>
                    <a:lnTo>
                      <a:pt x="559" y="488"/>
                    </a:lnTo>
                    <a:lnTo>
                      <a:pt x="560" y="490"/>
                    </a:lnTo>
                    <a:lnTo>
                      <a:pt x="561" y="491"/>
                    </a:lnTo>
                    <a:lnTo>
                      <a:pt x="561" y="492"/>
                    </a:lnTo>
                    <a:lnTo>
                      <a:pt x="561" y="495"/>
                    </a:lnTo>
                    <a:lnTo>
                      <a:pt x="561" y="500"/>
                    </a:lnTo>
                    <a:lnTo>
                      <a:pt x="561" y="501"/>
                    </a:lnTo>
                    <a:lnTo>
                      <a:pt x="560" y="502"/>
                    </a:lnTo>
                    <a:lnTo>
                      <a:pt x="560" y="504"/>
                    </a:lnTo>
                    <a:lnTo>
                      <a:pt x="560" y="505"/>
                    </a:lnTo>
                    <a:lnTo>
                      <a:pt x="559" y="505"/>
                    </a:lnTo>
                    <a:lnTo>
                      <a:pt x="557" y="504"/>
                    </a:lnTo>
                    <a:lnTo>
                      <a:pt x="557" y="505"/>
                    </a:lnTo>
                    <a:lnTo>
                      <a:pt x="557" y="506"/>
                    </a:lnTo>
                    <a:lnTo>
                      <a:pt x="557" y="507"/>
                    </a:lnTo>
                    <a:lnTo>
                      <a:pt x="559" y="508"/>
                    </a:lnTo>
                    <a:lnTo>
                      <a:pt x="559" y="509"/>
                    </a:lnTo>
                    <a:lnTo>
                      <a:pt x="559" y="511"/>
                    </a:lnTo>
                    <a:lnTo>
                      <a:pt x="557" y="511"/>
                    </a:lnTo>
                    <a:lnTo>
                      <a:pt x="556" y="511"/>
                    </a:lnTo>
                    <a:lnTo>
                      <a:pt x="555" y="511"/>
                    </a:lnTo>
                    <a:lnTo>
                      <a:pt x="554" y="509"/>
                    </a:lnTo>
                    <a:lnTo>
                      <a:pt x="553" y="507"/>
                    </a:lnTo>
                    <a:lnTo>
                      <a:pt x="552" y="507"/>
                    </a:lnTo>
                    <a:lnTo>
                      <a:pt x="551" y="508"/>
                    </a:lnTo>
                    <a:lnTo>
                      <a:pt x="548" y="509"/>
                    </a:lnTo>
                    <a:lnTo>
                      <a:pt x="548" y="511"/>
                    </a:lnTo>
                    <a:lnTo>
                      <a:pt x="548" y="512"/>
                    </a:lnTo>
                    <a:lnTo>
                      <a:pt x="548" y="513"/>
                    </a:lnTo>
                    <a:lnTo>
                      <a:pt x="547" y="513"/>
                    </a:lnTo>
                    <a:lnTo>
                      <a:pt x="542" y="519"/>
                    </a:lnTo>
                    <a:lnTo>
                      <a:pt x="541" y="519"/>
                    </a:lnTo>
                    <a:lnTo>
                      <a:pt x="540" y="520"/>
                    </a:lnTo>
                    <a:lnTo>
                      <a:pt x="539" y="521"/>
                    </a:lnTo>
                    <a:lnTo>
                      <a:pt x="538" y="522"/>
                    </a:lnTo>
                    <a:lnTo>
                      <a:pt x="538" y="523"/>
                    </a:lnTo>
                    <a:lnTo>
                      <a:pt x="538" y="526"/>
                    </a:lnTo>
                    <a:lnTo>
                      <a:pt x="538" y="527"/>
                    </a:lnTo>
                    <a:lnTo>
                      <a:pt x="534" y="531"/>
                    </a:lnTo>
                    <a:lnTo>
                      <a:pt x="534" y="533"/>
                    </a:lnTo>
                    <a:lnTo>
                      <a:pt x="533" y="538"/>
                    </a:lnTo>
                    <a:lnTo>
                      <a:pt x="533" y="541"/>
                    </a:lnTo>
                    <a:lnTo>
                      <a:pt x="532" y="542"/>
                    </a:lnTo>
                    <a:lnTo>
                      <a:pt x="530" y="545"/>
                    </a:lnTo>
                    <a:lnTo>
                      <a:pt x="530" y="547"/>
                    </a:lnTo>
                    <a:lnTo>
                      <a:pt x="526" y="555"/>
                    </a:lnTo>
                    <a:lnTo>
                      <a:pt x="524" y="557"/>
                    </a:lnTo>
                    <a:lnTo>
                      <a:pt x="523" y="558"/>
                    </a:lnTo>
                    <a:lnTo>
                      <a:pt x="521" y="559"/>
                    </a:lnTo>
                    <a:lnTo>
                      <a:pt x="519" y="562"/>
                    </a:lnTo>
                    <a:lnTo>
                      <a:pt x="518" y="562"/>
                    </a:lnTo>
                    <a:lnTo>
                      <a:pt x="516" y="562"/>
                    </a:lnTo>
                    <a:lnTo>
                      <a:pt x="511" y="563"/>
                    </a:lnTo>
                    <a:lnTo>
                      <a:pt x="510" y="563"/>
                    </a:lnTo>
                    <a:lnTo>
                      <a:pt x="510" y="562"/>
                    </a:lnTo>
                    <a:lnTo>
                      <a:pt x="510" y="561"/>
                    </a:lnTo>
                    <a:lnTo>
                      <a:pt x="509" y="561"/>
                    </a:lnTo>
                    <a:lnTo>
                      <a:pt x="507" y="559"/>
                    </a:lnTo>
                    <a:lnTo>
                      <a:pt x="506" y="559"/>
                    </a:lnTo>
                    <a:lnTo>
                      <a:pt x="505" y="562"/>
                    </a:lnTo>
                    <a:lnTo>
                      <a:pt x="505" y="563"/>
                    </a:lnTo>
                    <a:lnTo>
                      <a:pt x="504" y="563"/>
                    </a:lnTo>
                    <a:lnTo>
                      <a:pt x="503" y="564"/>
                    </a:lnTo>
                    <a:lnTo>
                      <a:pt x="503" y="565"/>
                    </a:lnTo>
                    <a:lnTo>
                      <a:pt x="506" y="564"/>
                    </a:lnTo>
                    <a:lnTo>
                      <a:pt x="507" y="564"/>
                    </a:lnTo>
                    <a:lnTo>
                      <a:pt x="505" y="566"/>
                    </a:lnTo>
                    <a:lnTo>
                      <a:pt x="504" y="568"/>
                    </a:lnTo>
                    <a:lnTo>
                      <a:pt x="503" y="568"/>
                    </a:lnTo>
                    <a:lnTo>
                      <a:pt x="502" y="568"/>
                    </a:lnTo>
                    <a:lnTo>
                      <a:pt x="499" y="568"/>
                    </a:lnTo>
                    <a:lnTo>
                      <a:pt x="498" y="569"/>
                    </a:lnTo>
                    <a:lnTo>
                      <a:pt x="497" y="569"/>
                    </a:lnTo>
                    <a:lnTo>
                      <a:pt x="496" y="570"/>
                    </a:lnTo>
                    <a:lnTo>
                      <a:pt x="493" y="571"/>
                    </a:lnTo>
                    <a:lnTo>
                      <a:pt x="492" y="572"/>
                    </a:lnTo>
                    <a:lnTo>
                      <a:pt x="491" y="572"/>
                    </a:lnTo>
                    <a:lnTo>
                      <a:pt x="490" y="573"/>
                    </a:lnTo>
                    <a:lnTo>
                      <a:pt x="485" y="575"/>
                    </a:lnTo>
                    <a:lnTo>
                      <a:pt x="485" y="576"/>
                    </a:lnTo>
                    <a:lnTo>
                      <a:pt x="484" y="576"/>
                    </a:lnTo>
                    <a:lnTo>
                      <a:pt x="484" y="577"/>
                    </a:lnTo>
                    <a:lnTo>
                      <a:pt x="484" y="578"/>
                    </a:lnTo>
                    <a:lnTo>
                      <a:pt x="482" y="580"/>
                    </a:lnTo>
                    <a:lnTo>
                      <a:pt x="480" y="582"/>
                    </a:lnTo>
                    <a:lnTo>
                      <a:pt x="478" y="583"/>
                    </a:lnTo>
                    <a:lnTo>
                      <a:pt x="476" y="583"/>
                    </a:lnTo>
                    <a:lnTo>
                      <a:pt x="475" y="584"/>
                    </a:lnTo>
                    <a:lnTo>
                      <a:pt x="471" y="587"/>
                    </a:lnTo>
                    <a:lnTo>
                      <a:pt x="470" y="587"/>
                    </a:lnTo>
                    <a:lnTo>
                      <a:pt x="470" y="589"/>
                    </a:lnTo>
                    <a:lnTo>
                      <a:pt x="470" y="590"/>
                    </a:lnTo>
                    <a:lnTo>
                      <a:pt x="470" y="591"/>
                    </a:lnTo>
                    <a:lnTo>
                      <a:pt x="469" y="592"/>
                    </a:lnTo>
                    <a:lnTo>
                      <a:pt x="469" y="593"/>
                    </a:lnTo>
                    <a:lnTo>
                      <a:pt x="468" y="596"/>
                    </a:lnTo>
                    <a:lnTo>
                      <a:pt x="467" y="597"/>
                    </a:lnTo>
                    <a:lnTo>
                      <a:pt x="462" y="604"/>
                    </a:lnTo>
                    <a:lnTo>
                      <a:pt x="461" y="606"/>
                    </a:lnTo>
                    <a:lnTo>
                      <a:pt x="456" y="607"/>
                    </a:lnTo>
                    <a:lnTo>
                      <a:pt x="455" y="610"/>
                    </a:lnTo>
                    <a:lnTo>
                      <a:pt x="456" y="611"/>
                    </a:lnTo>
                    <a:lnTo>
                      <a:pt x="455" y="612"/>
                    </a:lnTo>
                    <a:lnTo>
                      <a:pt x="455" y="613"/>
                    </a:lnTo>
                    <a:lnTo>
                      <a:pt x="455" y="614"/>
                    </a:lnTo>
                    <a:lnTo>
                      <a:pt x="456" y="614"/>
                    </a:lnTo>
                    <a:lnTo>
                      <a:pt x="455" y="617"/>
                    </a:lnTo>
                    <a:lnTo>
                      <a:pt x="455" y="619"/>
                    </a:lnTo>
                    <a:lnTo>
                      <a:pt x="454" y="620"/>
                    </a:lnTo>
                    <a:lnTo>
                      <a:pt x="453" y="618"/>
                    </a:lnTo>
                    <a:lnTo>
                      <a:pt x="453" y="617"/>
                    </a:lnTo>
                    <a:lnTo>
                      <a:pt x="450" y="617"/>
                    </a:lnTo>
                    <a:lnTo>
                      <a:pt x="448" y="619"/>
                    </a:lnTo>
                    <a:lnTo>
                      <a:pt x="446" y="619"/>
                    </a:lnTo>
                    <a:lnTo>
                      <a:pt x="445" y="620"/>
                    </a:lnTo>
                    <a:lnTo>
                      <a:pt x="443" y="621"/>
                    </a:lnTo>
                    <a:lnTo>
                      <a:pt x="443" y="624"/>
                    </a:lnTo>
                    <a:lnTo>
                      <a:pt x="443" y="625"/>
                    </a:lnTo>
                    <a:lnTo>
                      <a:pt x="445" y="627"/>
                    </a:lnTo>
                    <a:lnTo>
                      <a:pt x="445" y="628"/>
                    </a:lnTo>
                    <a:lnTo>
                      <a:pt x="443" y="629"/>
                    </a:lnTo>
                    <a:lnTo>
                      <a:pt x="442" y="627"/>
                    </a:lnTo>
                    <a:lnTo>
                      <a:pt x="441" y="627"/>
                    </a:lnTo>
                    <a:lnTo>
                      <a:pt x="440" y="628"/>
                    </a:lnTo>
                    <a:lnTo>
                      <a:pt x="440" y="631"/>
                    </a:lnTo>
                    <a:lnTo>
                      <a:pt x="440" y="632"/>
                    </a:lnTo>
                    <a:lnTo>
                      <a:pt x="440" y="633"/>
                    </a:lnTo>
                    <a:lnTo>
                      <a:pt x="440" y="634"/>
                    </a:lnTo>
                    <a:lnTo>
                      <a:pt x="441" y="635"/>
                    </a:lnTo>
                    <a:lnTo>
                      <a:pt x="441" y="636"/>
                    </a:lnTo>
                    <a:lnTo>
                      <a:pt x="441" y="638"/>
                    </a:lnTo>
                    <a:lnTo>
                      <a:pt x="440" y="638"/>
                    </a:lnTo>
                    <a:lnTo>
                      <a:pt x="438" y="638"/>
                    </a:lnTo>
                    <a:lnTo>
                      <a:pt x="438" y="639"/>
                    </a:lnTo>
                    <a:lnTo>
                      <a:pt x="436" y="640"/>
                    </a:lnTo>
                    <a:lnTo>
                      <a:pt x="435" y="640"/>
                    </a:lnTo>
                    <a:lnTo>
                      <a:pt x="436" y="641"/>
                    </a:lnTo>
                    <a:lnTo>
                      <a:pt x="439" y="641"/>
                    </a:lnTo>
                    <a:lnTo>
                      <a:pt x="440" y="641"/>
                    </a:lnTo>
                    <a:lnTo>
                      <a:pt x="441" y="641"/>
                    </a:lnTo>
                    <a:lnTo>
                      <a:pt x="442" y="640"/>
                    </a:lnTo>
                    <a:lnTo>
                      <a:pt x="445" y="638"/>
                    </a:lnTo>
                    <a:lnTo>
                      <a:pt x="446" y="638"/>
                    </a:lnTo>
                    <a:lnTo>
                      <a:pt x="446" y="639"/>
                    </a:lnTo>
                    <a:lnTo>
                      <a:pt x="447" y="639"/>
                    </a:lnTo>
                    <a:lnTo>
                      <a:pt x="447" y="638"/>
                    </a:lnTo>
                    <a:lnTo>
                      <a:pt x="447" y="636"/>
                    </a:lnTo>
                    <a:lnTo>
                      <a:pt x="447" y="635"/>
                    </a:lnTo>
                    <a:lnTo>
                      <a:pt x="448" y="635"/>
                    </a:lnTo>
                    <a:lnTo>
                      <a:pt x="449" y="635"/>
                    </a:lnTo>
                    <a:lnTo>
                      <a:pt x="449" y="636"/>
                    </a:lnTo>
                    <a:lnTo>
                      <a:pt x="449" y="640"/>
                    </a:lnTo>
                    <a:lnTo>
                      <a:pt x="448" y="641"/>
                    </a:lnTo>
                    <a:lnTo>
                      <a:pt x="448" y="642"/>
                    </a:lnTo>
                    <a:lnTo>
                      <a:pt x="447" y="643"/>
                    </a:lnTo>
                    <a:lnTo>
                      <a:pt x="446" y="645"/>
                    </a:lnTo>
                    <a:lnTo>
                      <a:pt x="446" y="646"/>
                    </a:lnTo>
                    <a:lnTo>
                      <a:pt x="448" y="650"/>
                    </a:lnTo>
                    <a:lnTo>
                      <a:pt x="448" y="652"/>
                    </a:lnTo>
                    <a:lnTo>
                      <a:pt x="448" y="653"/>
                    </a:lnTo>
                    <a:lnTo>
                      <a:pt x="448" y="654"/>
                    </a:lnTo>
                    <a:lnTo>
                      <a:pt x="446" y="654"/>
                    </a:lnTo>
                    <a:lnTo>
                      <a:pt x="446" y="655"/>
                    </a:lnTo>
                    <a:lnTo>
                      <a:pt x="445" y="654"/>
                    </a:lnTo>
                    <a:lnTo>
                      <a:pt x="443" y="652"/>
                    </a:lnTo>
                    <a:lnTo>
                      <a:pt x="442" y="650"/>
                    </a:lnTo>
                    <a:lnTo>
                      <a:pt x="440" y="649"/>
                    </a:lnTo>
                    <a:lnTo>
                      <a:pt x="439" y="649"/>
                    </a:lnTo>
                    <a:lnTo>
                      <a:pt x="439" y="648"/>
                    </a:lnTo>
                    <a:lnTo>
                      <a:pt x="439" y="647"/>
                    </a:lnTo>
                    <a:lnTo>
                      <a:pt x="438" y="645"/>
                    </a:lnTo>
                    <a:lnTo>
                      <a:pt x="434" y="643"/>
                    </a:lnTo>
                    <a:lnTo>
                      <a:pt x="432" y="645"/>
                    </a:lnTo>
                    <a:lnTo>
                      <a:pt x="429" y="646"/>
                    </a:lnTo>
                    <a:lnTo>
                      <a:pt x="429" y="648"/>
                    </a:lnTo>
                    <a:lnTo>
                      <a:pt x="428" y="648"/>
                    </a:lnTo>
                    <a:lnTo>
                      <a:pt x="428" y="649"/>
                    </a:lnTo>
                    <a:lnTo>
                      <a:pt x="429" y="649"/>
                    </a:lnTo>
                    <a:lnTo>
                      <a:pt x="429" y="650"/>
                    </a:lnTo>
                    <a:lnTo>
                      <a:pt x="428" y="650"/>
                    </a:lnTo>
                    <a:lnTo>
                      <a:pt x="426" y="650"/>
                    </a:lnTo>
                    <a:lnTo>
                      <a:pt x="425" y="650"/>
                    </a:lnTo>
                    <a:lnTo>
                      <a:pt x="425" y="649"/>
                    </a:lnTo>
                    <a:lnTo>
                      <a:pt x="425" y="648"/>
                    </a:lnTo>
                    <a:lnTo>
                      <a:pt x="424" y="646"/>
                    </a:lnTo>
                    <a:lnTo>
                      <a:pt x="419" y="639"/>
                    </a:lnTo>
                    <a:lnTo>
                      <a:pt x="417" y="635"/>
                    </a:lnTo>
                    <a:lnTo>
                      <a:pt x="416" y="634"/>
                    </a:lnTo>
                    <a:lnTo>
                      <a:pt x="413" y="633"/>
                    </a:lnTo>
                    <a:lnTo>
                      <a:pt x="411" y="632"/>
                    </a:lnTo>
                    <a:lnTo>
                      <a:pt x="410" y="632"/>
                    </a:lnTo>
                    <a:lnTo>
                      <a:pt x="410" y="631"/>
                    </a:lnTo>
                    <a:lnTo>
                      <a:pt x="407" y="632"/>
                    </a:lnTo>
                    <a:lnTo>
                      <a:pt x="407" y="631"/>
                    </a:lnTo>
                    <a:lnTo>
                      <a:pt x="409" y="628"/>
                    </a:lnTo>
                    <a:lnTo>
                      <a:pt x="409" y="627"/>
                    </a:lnTo>
                    <a:lnTo>
                      <a:pt x="407" y="626"/>
                    </a:lnTo>
                    <a:lnTo>
                      <a:pt x="405" y="624"/>
                    </a:lnTo>
                    <a:lnTo>
                      <a:pt x="403" y="622"/>
                    </a:lnTo>
                    <a:lnTo>
                      <a:pt x="402" y="622"/>
                    </a:lnTo>
                    <a:lnTo>
                      <a:pt x="400" y="622"/>
                    </a:lnTo>
                    <a:lnTo>
                      <a:pt x="399" y="622"/>
                    </a:lnTo>
                    <a:lnTo>
                      <a:pt x="398" y="622"/>
                    </a:lnTo>
                    <a:lnTo>
                      <a:pt x="397" y="624"/>
                    </a:lnTo>
                    <a:lnTo>
                      <a:pt x="396" y="625"/>
                    </a:lnTo>
                    <a:lnTo>
                      <a:pt x="395" y="625"/>
                    </a:lnTo>
                    <a:lnTo>
                      <a:pt x="395" y="622"/>
                    </a:lnTo>
                    <a:lnTo>
                      <a:pt x="396" y="620"/>
                    </a:lnTo>
                    <a:lnTo>
                      <a:pt x="397" y="619"/>
                    </a:lnTo>
                    <a:lnTo>
                      <a:pt x="397" y="618"/>
                    </a:lnTo>
                    <a:lnTo>
                      <a:pt x="398" y="617"/>
                    </a:lnTo>
                    <a:lnTo>
                      <a:pt x="398" y="615"/>
                    </a:lnTo>
                    <a:lnTo>
                      <a:pt x="399" y="614"/>
                    </a:lnTo>
                    <a:lnTo>
                      <a:pt x="399" y="613"/>
                    </a:lnTo>
                    <a:lnTo>
                      <a:pt x="400" y="613"/>
                    </a:lnTo>
                    <a:lnTo>
                      <a:pt x="400" y="612"/>
                    </a:lnTo>
                    <a:lnTo>
                      <a:pt x="402" y="613"/>
                    </a:lnTo>
                    <a:lnTo>
                      <a:pt x="400" y="613"/>
                    </a:lnTo>
                    <a:lnTo>
                      <a:pt x="400" y="615"/>
                    </a:lnTo>
                    <a:lnTo>
                      <a:pt x="400" y="617"/>
                    </a:lnTo>
                    <a:lnTo>
                      <a:pt x="402" y="618"/>
                    </a:lnTo>
                    <a:lnTo>
                      <a:pt x="403" y="618"/>
                    </a:lnTo>
                    <a:lnTo>
                      <a:pt x="406" y="619"/>
                    </a:lnTo>
                    <a:lnTo>
                      <a:pt x="407" y="619"/>
                    </a:lnTo>
                    <a:lnTo>
                      <a:pt x="406" y="620"/>
                    </a:lnTo>
                    <a:lnTo>
                      <a:pt x="406" y="621"/>
                    </a:lnTo>
                    <a:lnTo>
                      <a:pt x="406" y="622"/>
                    </a:lnTo>
                    <a:lnTo>
                      <a:pt x="407" y="622"/>
                    </a:lnTo>
                    <a:lnTo>
                      <a:pt x="409" y="624"/>
                    </a:lnTo>
                    <a:lnTo>
                      <a:pt x="410" y="624"/>
                    </a:lnTo>
                    <a:lnTo>
                      <a:pt x="409" y="625"/>
                    </a:lnTo>
                    <a:lnTo>
                      <a:pt x="409" y="626"/>
                    </a:lnTo>
                    <a:lnTo>
                      <a:pt x="410" y="627"/>
                    </a:lnTo>
                    <a:lnTo>
                      <a:pt x="411" y="627"/>
                    </a:lnTo>
                    <a:lnTo>
                      <a:pt x="412" y="628"/>
                    </a:lnTo>
                    <a:lnTo>
                      <a:pt x="413" y="628"/>
                    </a:lnTo>
                    <a:lnTo>
                      <a:pt x="414" y="627"/>
                    </a:lnTo>
                    <a:lnTo>
                      <a:pt x="418" y="627"/>
                    </a:lnTo>
                    <a:lnTo>
                      <a:pt x="418" y="626"/>
                    </a:lnTo>
                    <a:lnTo>
                      <a:pt x="417" y="625"/>
                    </a:lnTo>
                    <a:lnTo>
                      <a:pt x="414" y="625"/>
                    </a:lnTo>
                    <a:lnTo>
                      <a:pt x="414" y="624"/>
                    </a:lnTo>
                    <a:lnTo>
                      <a:pt x="414" y="622"/>
                    </a:lnTo>
                    <a:lnTo>
                      <a:pt x="414" y="621"/>
                    </a:lnTo>
                    <a:lnTo>
                      <a:pt x="413" y="621"/>
                    </a:lnTo>
                    <a:lnTo>
                      <a:pt x="413" y="622"/>
                    </a:lnTo>
                    <a:lnTo>
                      <a:pt x="412" y="622"/>
                    </a:lnTo>
                    <a:lnTo>
                      <a:pt x="412" y="624"/>
                    </a:lnTo>
                    <a:lnTo>
                      <a:pt x="412" y="622"/>
                    </a:lnTo>
                    <a:lnTo>
                      <a:pt x="411" y="622"/>
                    </a:lnTo>
                    <a:lnTo>
                      <a:pt x="411" y="621"/>
                    </a:lnTo>
                    <a:lnTo>
                      <a:pt x="411" y="620"/>
                    </a:lnTo>
                    <a:lnTo>
                      <a:pt x="411" y="619"/>
                    </a:lnTo>
                    <a:lnTo>
                      <a:pt x="411" y="618"/>
                    </a:lnTo>
                    <a:lnTo>
                      <a:pt x="412" y="617"/>
                    </a:lnTo>
                    <a:lnTo>
                      <a:pt x="412" y="615"/>
                    </a:lnTo>
                    <a:lnTo>
                      <a:pt x="411" y="614"/>
                    </a:lnTo>
                    <a:lnTo>
                      <a:pt x="410" y="612"/>
                    </a:lnTo>
                    <a:lnTo>
                      <a:pt x="410" y="611"/>
                    </a:lnTo>
                    <a:lnTo>
                      <a:pt x="409" y="601"/>
                    </a:lnTo>
                    <a:lnTo>
                      <a:pt x="407" y="597"/>
                    </a:lnTo>
                    <a:lnTo>
                      <a:pt x="406" y="594"/>
                    </a:lnTo>
                    <a:lnTo>
                      <a:pt x="404" y="593"/>
                    </a:lnTo>
                    <a:lnTo>
                      <a:pt x="403" y="592"/>
                    </a:lnTo>
                    <a:lnTo>
                      <a:pt x="402" y="591"/>
                    </a:lnTo>
                    <a:lnTo>
                      <a:pt x="403" y="591"/>
                    </a:lnTo>
                    <a:lnTo>
                      <a:pt x="404" y="590"/>
                    </a:lnTo>
                    <a:lnTo>
                      <a:pt x="405" y="590"/>
                    </a:lnTo>
                    <a:lnTo>
                      <a:pt x="404" y="589"/>
                    </a:lnTo>
                    <a:lnTo>
                      <a:pt x="404" y="587"/>
                    </a:lnTo>
                    <a:lnTo>
                      <a:pt x="404" y="586"/>
                    </a:lnTo>
                    <a:lnTo>
                      <a:pt x="404" y="585"/>
                    </a:lnTo>
                    <a:lnTo>
                      <a:pt x="404" y="582"/>
                    </a:lnTo>
                    <a:lnTo>
                      <a:pt x="404" y="580"/>
                    </a:lnTo>
                    <a:lnTo>
                      <a:pt x="403" y="579"/>
                    </a:lnTo>
                    <a:lnTo>
                      <a:pt x="402" y="577"/>
                    </a:lnTo>
                    <a:lnTo>
                      <a:pt x="399" y="573"/>
                    </a:lnTo>
                    <a:lnTo>
                      <a:pt x="399" y="572"/>
                    </a:lnTo>
                    <a:lnTo>
                      <a:pt x="398" y="572"/>
                    </a:lnTo>
                    <a:lnTo>
                      <a:pt x="397" y="571"/>
                    </a:lnTo>
                    <a:lnTo>
                      <a:pt x="392" y="565"/>
                    </a:lnTo>
                    <a:lnTo>
                      <a:pt x="389" y="562"/>
                    </a:lnTo>
                    <a:lnTo>
                      <a:pt x="385" y="559"/>
                    </a:lnTo>
                    <a:lnTo>
                      <a:pt x="384" y="558"/>
                    </a:lnTo>
                    <a:lnTo>
                      <a:pt x="383" y="558"/>
                    </a:lnTo>
                    <a:lnTo>
                      <a:pt x="383" y="557"/>
                    </a:lnTo>
                    <a:lnTo>
                      <a:pt x="382" y="556"/>
                    </a:lnTo>
                    <a:lnTo>
                      <a:pt x="381" y="555"/>
                    </a:lnTo>
                    <a:lnTo>
                      <a:pt x="379" y="554"/>
                    </a:lnTo>
                    <a:lnTo>
                      <a:pt x="378" y="554"/>
                    </a:lnTo>
                    <a:lnTo>
                      <a:pt x="379" y="552"/>
                    </a:lnTo>
                    <a:lnTo>
                      <a:pt x="379" y="551"/>
                    </a:lnTo>
                    <a:lnTo>
                      <a:pt x="379" y="550"/>
                    </a:lnTo>
                    <a:lnTo>
                      <a:pt x="379" y="549"/>
                    </a:lnTo>
                    <a:lnTo>
                      <a:pt x="381" y="548"/>
                    </a:lnTo>
                    <a:lnTo>
                      <a:pt x="381" y="544"/>
                    </a:lnTo>
                    <a:lnTo>
                      <a:pt x="379" y="543"/>
                    </a:lnTo>
                    <a:lnTo>
                      <a:pt x="379" y="541"/>
                    </a:lnTo>
                    <a:lnTo>
                      <a:pt x="377" y="536"/>
                    </a:lnTo>
                    <a:lnTo>
                      <a:pt x="377" y="534"/>
                    </a:lnTo>
                    <a:lnTo>
                      <a:pt x="376" y="533"/>
                    </a:lnTo>
                    <a:lnTo>
                      <a:pt x="374" y="530"/>
                    </a:lnTo>
                    <a:lnTo>
                      <a:pt x="372" y="528"/>
                    </a:lnTo>
                    <a:lnTo>
                      <a:pt x="371" y="527"/>
                    </a:lnTo>
                    <a:lnTo>
                      <a:pt x="370" y="527"/>
                    </a:lnTo>
                    <a:lnTo>
                      <a:pt x="369" y="526"/>
                    </a:lnTo>
                    <a:lnTo>
                      <a:pt x="369" y="524"/>
                    </a:lnTo>
                    <a:lnTo>
                      <a:pt x="370" y="524"/>
                    </a:lnTo>
                    <a:lnTo>
                      <a:pt x="371" y="524"/>
                    </a:lnTo>
                    <a:lnTo>
                      <a:pt x="372" y="524"/>
                    </a:lnTo>
                    <a:lnTo>
                      <a:pt x="372" y="523"/>
                    </a:lnTo>
                    <a:lnTo>
                      <a:pt x="371" y="522"/>
                    </a:lnTo>
                    <a:lnTo>
                      <a:pt x="370" y="520"/>
                    </a:lnTo>
                    <a:lnTo>
                      <a:pt x="368" y="520"/>
                    </a:lnTo>
                    <a:lnTo>
                      <a:pt x="364" y="518"/>
                    </a:lnTo>
                    <a:lnTo>
                      <a:pt x="363" y="519"/>
                    </a:lnTo>
                    <a:lnTo>
                      <a:pt x="362" y="519"/>
                    </a:lnTo>
                    <a:lnTo>
                      <a:pt x="362" y="520"/>
                    </a:lnTo>
                    <a:lnTo>
                      <a:pt x="363" y="521"/>
                    </a:lnTo>
                    <a:lnTo>
                      <a:pt x="365" y="521"/>
                    </a:lnTo>
                    <a:lnTo>
                      <a:pt x="367" y="522"/>
                    </a:lnTo>
                    <a:lnTo>
                      <a:pt x="367" y="523"/>
                    </a:lnTo>
                    <a:lnTo>
                      <a:pt x="368" y="523"/>
                    </a:lnTo>
                    <a:lnTo>
                      <a:pt x="368" y="524"/>
                    </a:lnTo>
                    <a:lnTo>
                      <a:pt x="367" y="524"/>
                    </a:lnTo>
                    <a:lnTo>
                      <a:pt x="365" y="526"/>
                    </a:lnTo>
                    <a:lnTo>
                      <a:pt x="364" y="523"/>
                    </a:lnTo>
                    <a:lnTo>
                      <a:pt x="363" y="522"/>
                    </a:lnTo>
                    <a:lnTo>
                      <a:pt x="361" y="521"/>
                    </a:lnTo>
                    <a:lnTo>
                      <a:pt x="356" y="519"/>
                    </a:lnTo>
                    <a:lnTo>
                      <a:pt x="355" y="519"/>
                    </a:lnTo>
                    <a:lnTo>
                      <a:pt x="353" y="520"/>
                    </a:lnTo>
                    <a:lnTo>
                      <a:pt x="352" y="520"/>
                    </a:lnTo>
                    <a:lnTo>
                      <a:pt x="350" y="521"/>
                    </a:lnTo>
                    <a:lnTo>
                      <a:pt x="350" y="520"/>
                    </a:lnTo>
                    <a:lnTo>
                      <a:pt x="350" y="519"/>
                    </a:lnTo>
                    <a:lnTo>
                      <a:pt x="349" y="519"/>
                    </a:lnTo>
                    <a:lnTo>
                      <a:pt x="349" y="520"/>
                    </a:lnTo>
                    <a:lnTo>
                      <a:pt x="349" y="521"/>
                    </a:lnTo>
                    <a:lnTo>
                      <a:pt x="348" y="522"/>
                    </a:lnTo>
                    <a:lnTo>
                      <a:pt x="345" y="520"/>
                    </a:lnTo>
                    <a:lnTo>
                      <a:pt x="343" y="519"/>
                    </a:lnTo>
                    <a:lnTo>
                      <a:pt x="343" y="516"/>
                    </a:lnTo>
                    <a:lnTo>
                      <a:pt x="343" y="515"/>
                    </a:lnTo>
                    <a:lnTo>
                      <a:pt x="342" y="512"/>
                    </a:lnTo>
                    <a:lnTo>
                      <a:pt x="342" y="511"/>
                    </a:lnTo>
                    <a:lnTo>
                      <a:pt x="341" y="511"/>
                    </a:lnTo>
                    <a:lnTo>
                      <a:pt x="340" y="511"/>
                    </a:lnTo>
                    <a:lnTo>
                      <a:pt x="338" y="511"/>
                    </a:lnTo>
                    <a:lnTo>
                      <a:pt x="336" y="509"/>
                    </a:lnTo>
                    <a:lnTo>
                      <a:pt x="338" y="509"/>
                    </a:lnTo>
                    <a:lnTo>
                      <a:pt x="340" y="508"/>
                    </a:lnTo>
                    <a:lnTo>
                      <a:pt x="340" y="507"/>
                    </a:lnTo>
                    <a:lnTo>
                      <a:pt x="340" y="506"/>
                    </a:lnTo>
                    <a:lnTo>
                      <a:pt x="340" y="505"/>
                    </a:lnTo>
                    <a:lnTo>
                      <a:pt x="339" y="504"/>
                    </a:lnTo>
                    <a:lnTo>
                      <a:pt x="338" y="502"/>
                    </a:lnTo>
                    <a:lnTo>
                      <a:pt x="338" y="504"/>
                    </a:lnTo>
                    <a:lnTo>
                      <a:pt x="336" y="504"/>
                    </a:lnTo>
                    <a:lnTo>
                      <a:pt x="335" y="502"/>
                    </a:lnTo>
                    <a:lnTo>
                      <a:pt x="333" y="502"/>
                    </a:lnTo>
                    <a:lnTo>
                      <a:pt x="332" y="502"/>
                    </a:lnTo>
                    <a:lnTo>
                      <a:pt x="331" y="501"/>
                    </a:lnTo>
                    <a:lnTo>
                      <a:pt x="332" y="500"/>
                    </a:lnTo>
                    <a:lnTo>
                      <a:pt x="333" y="499"/>
                    </a:lnTo>
                    <a:lnTo>
                      <a:pt x="334" y="498"/>
                    </a:lnTo>
                    <a:lnTo>
                      <a:pt x="335" y="498"/>
                    </a:lnTo>
                    <a:lnTo>
                      <a:pt x="335" y="495"/>
                    </a:lnTo>
                    <a:lnTo>
                      <a:pt x="335" y="493"/>
                    </a:lnTo>
                    <a:lnTo>
                      <a:pt x="334" y="492"/>
                    </a:lnTo>
                    <a:lnTo>
                      <a:pt x="332" y="488"/>
                    </a:lnTo>
                    <a:lnTo>
                      <a:pt x="332" y="487"/>
                    </a:lnTo>
                    <a:lnTo>
                      <a:pt x="332" y="486"/>
                    </a:lnTo>
                    <a:lnTo>
                      <a:pt x="333" y="486"/>
                    </a:lnTo>
                    <a:lnTo>
                      <a:pt x="334" y="487"/>
                    </a:lnTo>
                    <a:lnTo>
                      <a:pt x="339" y="487"/>
                    </a:lnTo>
                    <a:lnTo>
                      <a:pt x="341" y="487"/>
                    </a:lnTo>
                    <a:lnTo>
                      <a:pt x="340" y="488"/>
                    </a:lnTo>
                    <a:lnTo>
                      <a:pt x="340" y="490"/>
                    </a:lnTo>
                    <a:lnTo>
                      <a:pt x="340" y="491"/>
                    </a:lnTo>
                    <a:lnTo>
                      <a:pt x="340" y="492"/>
                    </a:lnTo>
                    <a:lnTo>
                      <a:pt x="340" y="493"/>
                    </a:lnTo>
                    <a:lnTo>
                      <a:pt x="341" y="493"/>
                    </a:lnTo>
                    <a:lnTo>
                      <a:pt x="341" y="492"/>
                    </a:lnTo>
                    <a:lnTo>
                      <a:pt x="341" y="491"/>
                    </a:lnTo>
                    <a:lnTo>
                      <a:pt x="342" y="490"/>
                    </a:lnTo>
                    <a:lnTo>
                      <a:pt x="343" y="488"/>
                    </a:lnTo>
                    <a:lnTo>
                      <a:pt x="345" y="488"/>
                    </a:lnTo>
                    <a:lnTo>
                      <a:pt x="345" y="487"/>
                    </a:lnTo>
                    <a:lnTo>
                      <a:pt x="345" y="486"/>
                    </a:lnTo>
                    <a:lnTo>
                      <a:pt x="346" y="484"/>
                    </a:lnTo>
                    <a:lnTo>
                      <a:pt x="346" y="483"/>
                    </a:lnTo>
                    <a:lnTo>
                      <a:pt x="345" y="478"/>
                    </a:lnTo>
                    <a:lnTo>
                      <a:pt x="343" y="476"/>
                    </a:lnTo>
                    <a:lnTo>
                      <a:pt x="341" y="473"/>
                    </a:lnTo>
                    <a:lnTo>
                      <a:pt x="340" y="471"/>
                    </a:lnTo>
                    <a:lnTo>
                      <a:pt x="336" y="467"/>
                    </a:lnTo>
                    <a:lnTo>
                      <a:pt x="335" y="467"/>
                    </a:lnTo>
                    <a:lnTo>
                      <a:pt x="334" y="467"/>
                    </a:lnTo>
                    <a:lnTo>
                      <a:pt x="334" y="469"/>
                    </a:lnTo>
                    <a:lnTo>
                      <a:pt x="333" y="469"/>
                    </a:lnTo>
                    <a:lnTo>
                      <a:pt x="332" y="469"/>
                    </a:lnTo>
                    <a:lnTo>
                      <a:pt x="331" y="469"/>
                    </a:lnTo>
                    <a:lnTo>
                      <a:pt x="329" y="469"/>
                    </a:lnTo>
                    <a:lnTo>
                      <a:pt x="328" y="470"/>
                    </a:lnTo>
                    <a:lnTo>
                      <a:pt x="328" y="471"/>
                    </a:lnTo>
                    <a:lnTo>
                      <a:pt x="327" y="471"/>
                    </a:lnTo>
                    <a:lnTo>
                      <a:pt x="326" y="471"/>
                    </a:lnTo>
                    <a:lnTo>
                      <a:pt x="325" y="471"/>
                    </a:lnTo>
                    <a:lnTo>
                      <a:pt x="324" y="471"/>
                    </a:lnTo>
                    <a:lnTo>
                      <a:pt x="322" y="472"/>
                    </a:lnTo>
                    <a:lnTo>
                      <a:pt x="321" y="473"/>
                    </a:lnTo>
                    <a:lnTo>
                      <a:pt x="321" y="474"/>
                    </a:lnTo>
                    <a:lnTo>
                      <a:pt x="320" y="474"/>
                    </a:lnTo>
                    <a:lnTo>
                      <a:pt x="319" y="474"/>
                    </a:lnTo>
                    <a:lnTo>
                      <a:pt x="318" y="473"/>
                    </a:lnTo>
                    <a:lnTo>
                      <a:pt x="319" y="473"/>
                    </a:lnTo>
                    <a:lnTo>
                      <a:pt x="319" y="472"/>
                    </a:lnTo>
                    <a:lnTo>
                      <a:pt x="319" y="471"/>
                    </a:lnTo>
                    <a:lnTo>
                      <a:pt x="319" y="470"/>
                    </a:lnTo>
                    <a:lnTo>
                      <a:pt x="319" y="469"/>
                    </a:lnTo>
                    <a:lnTo>
                      <a:pt x="319" y="467"/>
                    </a:lnTo>
                    <a:lnTo>
                      <a:pt x="319" y="466"/>
                    </a:lnTo>
                    <a:lnTo>
                      <a:pt x="320" y="464"/>
                    </a:lnTo>
                    <a:lnTo>
                      <a:pt x="321" y="464"/>
                    </a:lnTo>
                    <a:lnTo>
                      <a:pt x="321" y="465"/>
                    </a:lnTo>
                    <a:lnTo>
                      <a:pt x="322" y="465"/>
                    </a:lnTo>
                    <a:lnTo>
                      <a:pt x="324" y="464"/>
                    </a:lnTo>
                    <a:lnTo>
                      <a:pt x="325" y="463"/>
                    </a:lnTo>
                    <a:lnTo>
                      <a:pt x="324" y="462"/>
                    </a:lnTo>
                    <a:lnTo>
                      <a:pt x="321" y="459"/>
                    </a:lnTo>
                    <a:lnTo>
                      <a:pt x="321" y="458"/>
                    </a:lnTo>
                    <a:lnTo>
                      <a:pt x="321" y="457"/>
                    </a:lnTo>
                    <a:lnTo>
                      <a:pt x="318" y="455"/>
                    </a:lnTo>
                    <a:lnTo>
                      <a:pt x="317" y="452"/>
                    </a:lnTo>
                    <a:lnTo>
                      <a:pt x="315" y="452"/>
                    </a:lnTo>
                    <a:lnTo>
                      <a:pt x="315" y="453"/>
                    </a:lnTo>
                    <a:lnTo>
                      <a:pt x="314" y="453"/>
                    </a:lnTo>
                    <a:lnTo>
                      <a:pt x="314" y="455"/>
                    </a:lnTo>
                    <a:lnTo>
                      <a:pt x="313" y="453"/>
                    </a:lnTo>
                    <a:lnTo>
                      <a:pt x="313" y="452"/>
                    </a:lnTo>
                    <a:lnTo>
                      <a:pt x="313" y="451"/>
                    </a:lnTo>
                    <a:lnTo>
                      <a:pt x="312" y="450"/>
                    </a:lnTo>
                    <a:lnTo>
                      <a:pt x="311" y="450"/>
                    </a:lnTo>
                    <a:lnTo>
                      <a:pt x="310" y="449"/>
                    </a:lnTo>
                    <a:lnTo>
                      <a:pt x="308" y="449"/>
                    </a:lnTo>
                    <a:lnTo>
                      <a:pt x="308" y="448"/>
                    </a:lnTo>
                    <a:lnTo>
                      <a:pt x="308" y="446"/>
                    </a:lnTo>
                    <a:lnTo>
                      <a:pt x="307" y="446"/>
                    </a:lnTo>
                    <a:lnTo>
                      <a:pt x="306" y="445"/>
                    </a:lnTo>
                    <a:lnTo>
                      <a:pt x="307" y="444"/>
                    </a:lnTo>
                    <a:lnTo>
                      <a:pt x="307" y="443"/>
                    </a:lnTo>
                    <a:lnTo>
                      <a:pt x="306" y="442"/>
                    </a:lnTo>
                    <a:lnTo>
                      <a:pt x="304" y="442"/>
                    </a:lnTo>
                    <a:lnTo>
                      <a:pt x="303" y="442"/>
                    </a:lnTo>
                    <a:lnTo>
                      <a:pt x="301" y="442"/>
                    </a:lnTo>
                    <a:lnTo>
                      <a:pt x="301" y="444"/>
                    </a:lnTo>
                    <a:lnTo>
                      <a:pt x="301" y="445"/>
                    </a:lnTo>
                    <a:lnTo>
                      <a:pt x="300" y="446"/>
                    </a:lnTo>
                    <a:lnTo>
                      <a:pt x="300" y="448"/>
                    </a:lnTo>
                    <a:lnTo>
                      <a:pt x="299" y="448"/>
                    </a:lnTo>
                    <a:lnTo>
                      <a:pt x="297" y="445"/>
                    </a:lnTo>
                    <a:lnTo>
                      <a:pt x="296" y="445"/>
                    </a:lnTo>
                    <a:lnTo>
                      <a:pt x="296" y="443"/>
                    </a:lnTo>
                    <a:lnTo>
                      <a:pt x="295" y="443"/>
                    </a:lnTo>
                    <a:lnTo>
                      <a:pt x="293" y="444"/>
                    </a:lnTo>
                    <a:lnTo>
                      <a:pt x="292" y="444"/>
                    </a:lnTo>
                    <a:lnTo>
                      <a:pt x="291" y="444"/>
                    </a:lnTo>
                    <a:lnTo>
                      <a:pt x="291" y="445"/>
                    </a:lnTo>
                    <a:lnTo>
                      <a:pt x="291" y="446"/>
                    </a:lnTo>
                    <a:lnTo>
                      <a:pt x="292" y="446"/>
                    </a:lnTo>
                    <a:lnTo>
                      <a:pt x="293" y="446"/>
                    </a:lnTo>
                    <a:lnTo>
                      <a:pt x="295" y="448"/>
                    </a:lnTo>
                    <a:lnTo>
                      <a:pt x="296" y="449"/>
                    </a:lnTo>
                    <a:lnTo>
                      <a:pt x="295" y="450"/>
                    </a:lnTo>
                    <a:lnTo>
                      <a:pt x="293" y="449"/>
                    </a:lnTo>
                    <a:lnTo>
                      <a:pt x="292" y="449"/>
                    </a:lnTo>
                    <a:lnTo>
                      <a:pt x="292" y="450"/>
                    </a:lnTo>
                    <a:lnTo>
                      <a:pt x="291" y="450"/>
                    </a:lnTo>
                    <a:lnTo>
                      <a:pt x="288" y="450"/>
                    </a:lnTo>
                    <a:lnTo>
                      <a:pt x="285" y="449"/>
                    </a:lnTo>
                    <a:lnTo>
                      <a:pt x="284" y="449"/>
                    </a:lnTo>
                    <a:lnTo>
                      <a:pt x="283" y="450"/>
                    </a:lnTo>
                    <a:lnTo>
                      <a:pt x="282" y="451"/>
                    </a:lnTo>
                    <a:lnTo>
                      <a:pt x="282" y="450"/>
                    </a:lnTo>
                    <a:lnTo>
                      <a:pt x="281" y="450"/>
                    </a:lnTo>
                    <a:lnTo>
                      <a:pt x="279" y="449"/>
                    </a:lnTo>
                    <a:lnTo>
                      <a:pt x="278" y="449"/>
                    </a:lnTo>
                    <a:lnTo>
                      <a:pt x="277" y="449"/>
                    </a:lnTo>
                    <a:lnTo>
                      <a:pt x="276" y="449"/>
                    </a:lnTo>
                    <a:lnTo>
                      <a:pt x="275" y="449"/>
                    </a:lnTo>
                    <a:lnTo>
                      <a:pt x="274" y="448"/>
                    </a:lnTo>
                    <a:lnTo>
                      <a:pt x="269" y="443"/>
                    </a:lnTo>
                    <a:lnTo>
                      <a:pt x="268" y="442"/>
                    </a:lnTo>
                    <a:lnTo>
                      <a:pt x="267" y="442"/>
                    </a:lnTo>
                    <a:lnTo>
                      <a:pt x="265" y="442"/>
                    </a:lnTo>
                    <a:lnTo>
                      <a:pt x="265" y="443"/>
                    </a:lnTo>
                    <a:lnTo>
                      <a:pt x="264" y="443"/>
                    </a:lnTo>
                    <a:lnTo>
                      <a:pt x="264" y="442"/>
                    </a:lnTo>
                    <a:lnTo>
                      <a:pt x="263" y="441"/>
                    </a:lnTo>
                    <a:lnTo>
                      <a:pt x="263" y="439"/>
                    </a:lnTo>
                    <a:lnTo>
                      <a:pt x="262" y="439"/>
                    </a:lnTo>
                    <a:lnTo>
                      <a:pt x="257" y="436"/>
                    </a:lnTo>
                    <a:lnTo>
                      <a:pt x="256" y="435"/>
                    </a:lnTo>
                    <a:lnTo>
                      <a:pt x="253" y="431"/>
                    </a:lnTo>
                    <a:lnTo>
                      <a:pt x="251" y="431"/>
                    </a:lnTo>
                    <a:lnTo>
                      <a:pt x="250" y="431"/>
                    </a:lnTo>
                    <a:lnTo>
                      <a:pt x="247" y="431"/>
                    </a:lnTo>
                    <a:lnTo>
                      <a:pt x="244" y="431"/>
                    </a:lnTo>
                    <a:lnTo>
                      <a:pt x="240" y="430"/>
                    </a:lnTo>
                    <a:lnTo>
                      <a:pt x="239" y="430"/>
                    </a:lnTo>
                    <a:lnTo>
                      <a:pt x="235" y="431"/>
                    </a:lnTo>
                    <a:lnTo>
                      <a:pt x="234" y="431"/>
                    </a:lnTo>
                    <a:lnTo>
                      <a:pt x="233" y="432"/>
                    </a:lnTo>
                    <a:lnTo>
                      <a:pt x="232" y="432"/>
                    </a:lnTo>
                    <a:lnTo>
                      <a:pt x="232" y="434"/>
                    </a:lnTo>
                    <a:lnTo>
                      <a:pt x="232" y="435"/>
                    </a:lnTo>
                    <a:lnTo>
                      <a:pt x="233" y="436"/>
                    </a:lnTo>
                    <a:lnTo>
                      <a:pt x="234" y="437"/>
                    </a:lnTo>
                    <a:lnTo>
                      <a:pt x="233" y="437"/>
                    </a:lnTo>
                    <a:lnTo>
                      <a:pt x="232" y="437"/>
                    </a:lnTo>
                    <a:lnTo>
                      <a:pt x="231" y="437"/>
                    </a:lnTo>
                    <a:lnTo>
                      <a:pt x="229" y="436"/>
                    </a:lnTo>
                    <a:lnTo>
                      <a:pt x="228" y="436"/>
                    </a:lnTo>
                    <a:lnTo>
                      <a:pt x="227" y="436"/>
                    </a:lnTo>
                    <a:lnTo>
                      <a:pt x="224" y="438"/>
                    </a:lnTo>
                    <a:lnTo>
                      <a:pt x="221" y="438"/>
                    </a:lnTo>
                    <a:lnTo>
                      <a:pt x="218" y="438"/>
                    </a:lnTo>
                    <a:lnTo>
                      <a:pt x="215" y="437"/>
                    </a:lnTo>
                    <a:lnTo>
                      <a:pt x="213" y="435"/>
                    </a:lnTo>
                    <a:lnTo>
                      <a:pt x="210" y="430"/>
                    </a:lnTo>
                    <a:lnTo>
                      <a:pt x="208" y="429"/>
                    </a:lnTo>
                    <a:lnTo>
                      <a:pt x="199" y="423"/>
                    </a:lnTo>
                    <a:lnTo>
                      <a:pt x="190" y="416"/>
                    </a:lnTo>
                    <a:lnTo>
                      <a:pt x="175" y="408"/>
                    </a:lnTo>
                    <a:lnTo>
                      <a:pt x="162" y="402"/>
                    </a:lnTo>
                    <a:lnTo>
                      <a:pt x="151" y="399"/>
                    </a:lnTo>
                    <a:lnTo>
                      <a:pt x="149" y="399"/>
                    </a:lnTo>
                    <a:lnTo>
                      <a:pt x="147" y="400"/>
                    </a:lnTo>
                    <a:lnTo>
                      <a:pt x="141" y="404"/>
                    </a:lnTo>
                    <a:lnTo>
                      <a:pt x="130" y="408"/>
                    </a:lnTo>
                    <a:lnTo>
                      <a:pt x="128" y="409"/>
                    </a:lnTo>
                    <a:lnTo>
                      <a:pt x="122" y="409"/>
                    </a:lnTo>
                    <a:lnTo>
                      <a:pt x="113" y="408"/>
                    </a:lnTo>
                    <a:lnTo>
                      <a:pt x="98" y="408"/>
                    </a:lnTo>
                    <a:lnTo>
                      <a:pt x="96" y="407"/>
                    </a:lnTo>
                    <a:lnTo>
                      <a:pt x="89" y="407"/>
                    </a:lnTo>
                    <a:lnTo>
                      <a:pt x="87" y="408"/>
                    </a:lnTo>
                    <a:lnTo>
                      <a:pt x="84" y="409"/>
                    </a:lnTo>
                    <a:lnTo>
                      <a:pt x="76" y="409"/>
                    </a:lnTo>
                    <a:lnTo>
                      <a:pt x="64" y="411"/>
                    </a:lnTo>
                    <a:lnTo>
                      <a:pt x="50" y="413"/>
                    </a:lnTo>
                    <a:lnTo>
                      <a:pt x="47" y="414"/>
                    </a:lnTo>
                    <a:lnTo>
                      <a:pt x="44" y="414"/>
                    </a:lnTo>
                    <a:lnTo>
                      <a:pt x="40" y="414"/>
                    </a:lnTo>
                    <a:lnTo>
                      <a:pt x="36" y="415"/>
                    </a:lnTo>
                    <a:lnTo>
                      <a:pt x="35" y="415"/>
                    </a:lnTo>
                    <a:lnTo>
                      <a:pt x="30" y="415"/>
                    </a:lnTo>
                    <a:lnTo>
                      <a:pt x="29" y="415"/>
                    </a:lnTo>
                    <a:lnTo>
                      <a:pt x="26" y="417"/>
                    </a:lnTo>
                    <a:lnTo>
                      <a:pt x="25" y="417"/>
                    </a:lnTo>
                    <a:lnTo>
                      <a:pt x="22" y="417"/>
                    </a:lnTo>
                    <a:lnTo>
                      <a:pt x="18" y="418"/>
                    </a:lnTo>
                    <a:lnTo>
                      <a:pt x="16" y="393"/>
                    </a:lnTo>
                    <a:lnTo>
                      <a:pt x="15" y="367"/>
                    </a:lnTo>
                    <a:lnTo>
                      <a:pt x="14" y="341"/>
                    </a:lnTo>
                    <a:lnTo>
                      <a:pt x="13" y="315"/>
                    </a:lnTo>
                    <a:lnTo>
                      <a:pt x="12" y="289"/>
                    </a:lnTo>
                    <a:lnTo>
                      <a:pt x="11" y="263"/>
                    </a:lnTo>
                    <a:lnTo>
                      <a:pt x="9" y="238"/>
                    </a:lnTo>
                    <a:lnTo>
                      <a:pt x="8" y="212"/>
                    </a:lnTo>
                    <a:lnTo>
                      <a:pt x="8" y="186"/>
                    </a:lnTo>
                    <a:lnTo>
                      <a:pt x="7" y="161"/>
                    </a:lnTo>
                    <a:lnTo>
                      <a:pt x="6" y="135"/>
                    </a:lnTo>
                    <a:lnTo>
                      <a:pt x="5" y="108"/>
                    </a:lnTo>
                    <a:lnTo>
                      <a:pt x="4" y="82"/>
                    </a:lnTo>
                    <a:lnTo>
                      <a:pt x="2" y="57"/>
                    </a:lnTo>
                    <a:lnTo>
                      <a:pt x="1" y="31"/>
                    </a:lnTo>
                    <a:lnTo>
                      <a:pt x="0" y="5"/>
                    </a:lnTo>
                    <a:lnTo>
                      <a:pt x="19" y="4"/>
                    </a:lnTo>
                    <a:lnTo>
                      <a:pt x="37" y="4"/>
                    </a:lnTo>
                    <a:lnTo>
                      <a:pt x="56" y="3"/>
                    </a:lnTo>
                    <a:lnTo>
                      <a:pt x="75" y="3"/>
                    </a:lnTo>
                    <a:lnTo>
                      <a:pt x="92" y="2"/>
                    </a:lnTo>
                    <a:lnTo>
                      <a:pt x="111" y="2"/>
                    </a:lnTo>
                    <a:lnTo>
                      <a:pt x="129" y="2"/>
                    </a:lnTo>
                    <a:lnTo>
                      <a:pt x="148" y="1"/>
                    </a:lnTo>
                    <a:lnTo>
                      <a:pt x="167" y="1"/>
                    </a:lnTo>
                    <a:lnTo>
                      <a:pt x="184" y="1"/>
                    </a:lnTo>
                    <a:lnTo>
                      <a:pt x="203" y="0"/>
                    </a:lnTo>
                    <a:lnTo>
                      <a:pt x="221" y="0"/>
                    </a:lnTo>
                    <a:lnTo>
                      <a:pt x="240" y="0"/>
                    </a:lnTo>
                    <a:lnTo>
                      <a:pt x="255" y="0"/>
                    </a:lnTo>
                    <a:lnTo>
                      <a:pt x="258" y="0"/>
                    </a:lnTo>
                    <a:lnTo>
                      <a:pt x="276" y="0"/>
                    </a:lnTo>
                    <a:lnTo>
                      <a:pt x="295" y="0"/>
                    </a:lnTo>
                    <a:lnTo>
                      <a:pt x="313" y="0"/>
                    </a:lnTo>
                    <a:lnTo>
                      <a:pt x="332" y="0"/>
                    </a:lnTo>
                    <a:lnTo>
                      <a:pt x="350" y="0"/>
                    </a:lnTo>
                    <a:lnTo>
                      <a:pt x="368" y="0"/>
                    </a:lnTo>
                    <a:lnTo>
                      <a:pt x="386" y="0"/>
                    </a:lnTo>
                    <a:lnTo>
                      <a:pt x="405" y="0"/>
                    </a:lnTo>
                    <a:lnTo>
                      <a:pt x="424" y="0"/>
                    </a:lnTo>
                    <a:lnTo>
                      <a:pt x="441" y="0"/>
                    </a:lnTo>
                    <a:lnTo>
                      <a:pt x="460" y="0"/>
                    </a:lnTo>
                    <a:lnTo>
                      <a:pt x="478" y="1"/>
                    </a:lnTo>
                    <a:lnTo>
                      <a:pt x="497" y="1"/>
                    </a:lnTo>
                    <a:lnTo>
                      <a:pt x="516" y="1"/>
                    </a:lnTo>
                    <a:lnTo>
                      <a:pt x="533" y="2"/>
                    </a:lnTo>
                    <a:lnTo>
                      <a:pt x="552" y="2"/>
                    </a:lnTo>
                    <a:lnTo>
                      <a:pt x="570" y="3"/>
                    </a:lnTo>
                    <a:lnTo>
                      <a:pt x="589" y="3"/>
                    </a:lnTo>
                    <a:lnTo>
                      <a:pt x="613" y="4"/>
                    </a:lnTo>
                    <a:lnTo>
                      <a:pt x="638" y="5"/>
                    </a:lnTo>
                    <a:lnTo>
                      <a:pt x="662" y="5"/>
                    </a:lnTo>
                    <a:lnTo>
                      <a:pt x="687" y="7"/>
                    </a:lnTo>
                    <a:lnTo>
                      <a:pt x="711" y="8"/>
                    </a:lnTo>
                    <a:lnTo>
                      <a:pt x="736" y="9"/>
                    </a:lnTo>
                    <a:lnTo>
                      <a:pt x="760" y="10"/>
                    </a:lnTo>
                    <a:lnTo>
                      <a:pt x="784" y="11"/>
                    </a:lnTo>
                    <a:lnTo>
                      <a:pt x="783" y="39"/>
                    </a:lnTo>
                    <a:lnTo>
                      <a:pt x="782" y="66"/>
                    </a:lnTo>
                    <a:lnTo>
                      <a:pt x="780" y="93"/>
                    </a:lnTo>
                    <a:lnTo>
                      <a:pt x="779" y="121"/>
                    </a:lnTo>
                    <a:lnTo>
                      <a:pt x="777" y="148"/>
                    </a:lnTo>
                    <a:lnTo>
                      <a:pt x="775" y="175"/>
                    </a:lnTo>
                    <a:lnTo>
                      <a:pt x="774" y="201"/>
                    </a:lnTo>
                    <a:lnTo>
                      <a:pt x="773" y="229"/>
                    </a:lnTo>
                    <a:lnTo>
                      <a:pt x="772" y="252"/>
                    </a:lnTo>
                    <a:lnTo>
                      <a:pt x="770" y="275"/>
                    </a:lnTo>
                    <a:lnTo>
                      <a:pt x="768" y="297"/>
                    </a:lnTo>
                    <a:lnTo>
                      <a:pt x="767" y="320"/>
                    </a:lnTo>
                    <a:lnTo>
                      <a:pt x="766" y="343"/>
                    </a:lnTo>
                    <a:lnTo>
                      <a:pt x="765" y="366"/>
                    </a:lnTo>
                    <a:lnTo>
                      <a:pt x="763" y="388"/>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3" name="Freeform 24">
                <a:extLst>
                  <a:ext uri="{FF2B5EF4-FFF2-40B4-BE49-F238E27FC236}">
                    <a16:creationId xmlns:a16="http://schemas.microsoft.com/office/drawing/2014/main" id="{82C3DEB1-9AC6-4EDA-BCD2-A65B33F4BB81}"/>
                  </a:ext>
                </a:extLst>
              </p:cNvPr>
              <p:cNvSpPr>
                <a:spLocks noEditPoints="1"/>
              </p:cNvSpPr>
              <p:nvPr/>
            </p:nvSpPr>
            <p:spPr bwMode="auto">
              <a:xfrm>
                <a:off x="6505575" y="4960464"/>
                <a:ext cx="839788" cy="641350"/>
              </a:xfrm>
              <a:custGeom>
                <a:avLst/>
                <a:gdLst>
                  <a:gd name="T0" fmla="*/ 318 w 529"/>
                  <a:gd name="T1" fmla="*/ 379 h 404"/>
                  <a:gd name="T2" fmla="*/ 245 w 529"/>
                  <a:gd name="T3" fmla="*/ 352 h 404"/>
                  <a:gd name="T4" fmla="*/ 251 w 529"/>
                  <a:gd name="T5" fmla="*/ 348 h 404"/>
                  <a:gd name="T6" fmla="*/ 260 w 529"/>
                  <a:gd name="T7" fmla="*/ 342 h 404"/>
                  <a:gd name="T8" fmla="*/ 254 w 529"/>
                  <a:gd name="T9" fmla="*/ 337 h 404"/>
                  <a:gd name="T10" fmla="*/ 46 w 529"/>
                  <a:gd name="T11" fmla="*/ 15 h 404"/>
                  <a:gd name="T12" fmla="*/ 69 w 529"/>
                  <a:gd name="T13" fmla="*/ 14 h 404"/>
                  <a:gd name="T14" fmla="*/ 91 w 529"/>
                  <a:gd name="T15" fmla="*/ 20 h 404"/>
                  <a:gd name="T16" fmla="*/ 100 w 529"/>
                  <a:gd name="T17" fmla="*/ 36 h 404"/>
                  <a:gd name="T18" fmla="*/ 109 w 529"/>
                  <a:gd name="T19" fmla="*/ 64 h 404"/>
                  <a:gd name="T20" fmla="*/ 118 w 529"/>
                  <a:gd name="T21" fmla="*/ 58 h 404"/>
                  <a:gd name="T22" fmla="*/ 131 w 529"/>
                  <a:gd name="T23" fmla="*/ 57 h 404"/>
                  <a:gd name="T24" fmla="*/ 154 w 529"/>
                  <a:gd name="T25" fmla="*/ 68 h 404"/>
                  <a:gd name="T26" fmla="*/ 155 w 529"/>
                  <a:gd name="T27" fmla="*/ 84 h 404"/>
                  <a:gd name="T28" fmla="*/ 167 w 529"/>
                  <a:gd name="T29" fmla="*/ 108 h 404"/>
                  <a:gd name="T30" fmla="*/ 192 w 529"/>
                  <a:gd name="T31" fmla="*/ 128 h 404"/>
                  <a:gd name="T32" fmla="*/ 214 w 529"/>
                  <a:gd name="T33" fmla="*/ 155 h 404"/>
                  <a:gd name="T34" fmla="*/ 237 w 529"/>
                  <a:gd name="T35" fmla="*/ 173 h 404"/>
                  <a:gd name="T36" fmla="*/ 248 w 529"/>
                  <a:gd name="T37" fmla="*/ 155 h 404"/>
                  <a:gd name="T38" fmla="*/ 302 w 529"/>
                  <a:gd name="T39" fmla="*/ 167 h 404"/>
                  <a:gd name="T40" fmla="*/ 320 w 529"/>
                  <a:gd name="T41" fmla="*/ 175 h 404"/>
                  <a:gd name="T42" fmla="*/ 345 w 529"/>
                  <a:gd name="T43" fmla="*/ 174 h 404"/>
                  <a:gd name="T44" fmla="*/ 363 w 529"/>
                  <a:gd name="T45" fmla="*/ 183 h 404"/>
                  <a:gd name="T46" fmla="*/ 372 w 529"/>
                  <a:gd name="T47" fmla="*/ 191 h 404"/>
                  <a:gd name="T48" fmla="*/ 377 w 529"/>
                  <a:gd name="T49" fmla="*/ 182 h 404"/>
                  <a:gd name="T50" fmla="*/ 396 w 529"/>
                  <a:gd name="T51" fmla="*/ 176 h 404"/>
                  <a:gd name="T52" fmla="*/ 422 w 529"/>
                  <a:gd name="T53" fmla="*/ 184 h 404"/>
                  <a:gd name="T54" fmla="*/ 427 w 529"/>
                  <a:gd name="T55" fmla="*/ 206 h 404"/>
                  <a:gd name="T56" fmla="*/ 433 w 529"/>
                  <a:gd name="T57" fmla="*/ 229 h 404"/>
                  <a:gd name="T58" fmla="*/ 493 w 529"/>
                  <a:gd name="T59" fmla="*/ 283 h 404"/>
                  <a:gd name="T60" fmla="*/ 515 w 529"/>
                  <a:gd name="T61" fmla="*/ 311 h 404"/>
                  <a:gd name="T62" fmla="*/ 487 w 529"/>
                  <a:gd name="T63" fmla="*/ 323 h 404"/>
                  <a:gd name="T64" fmla="*/ 405 w 529"/>
                  <a:gd name="T65" fmla="*/ 323 h 404"/>
                  <a:gd name="T66" fmla="*/ 324 w 529"/>
                  <a:gd name="T67" fmla="*/ 371 h 404"/>
                  <a:gd name="T68" fmla="*/ 298 w 529"/>
                  <a:gd name="T69" fmla="*/ 373 h 404"/>
                  <a:gd name="T70" fmla="*/ 306 w 529"/>
                  <a:gd name="T71" fmla="*/ 385 h 404"/>
                  <a:gd name="T72" fmla="*/ 315 w 529"/>
                  <a:gd name="T73" fmla="*/ 386 h 404"/>
                  <a:gd name="T74" fmla="*/ 311 w 529"/>
                  <a:gd name="T75" fmla="*/ 399 h 404"/>
                  <a:gd name="T76" fmla="*/ 303 w 529"/>
                  <a:gd name="T77" fmla="*/ 395 h 404"/>
                  <a:gd name="T78" fmla="*/ 280 w 529"/>
                  <a:gd name="T79" fmla="*/ 372 h 404"/>
                  <a:gd name="T80" fmla="*/ 262 w 529"/>
                  <a:gd name="T81" fmla="*/ 358 h 404"/>
                  <a:gd name="T82" fmla="*/ 259 w 529"/>
                  <a:gd name="T83" fmla="*/ 344 h 404"/>
                  <a:gd name="T84" fmla="*/ 260 w 529"/>
                  <a:gd name="T85" fmla="*/ 331 h 404"/>
                  <a:gd name="T86" fmla="*/ 246 w 529"/>
                  <a:gd name="T87" fmla="*/ 339 h 404"/>
                  <a:gd name="T88" fmla="*/ 216 w 529"/>
                  <a:gd name="T89" fmla="*/ 336 h 404"/>
                  <a:gd name="T90" fmla="*/ 232 w 529"/>
                  <a:gd name="T91" fmla="*/ 334 h 404"/>
                  <a:gd name="T92" fmla="*/ 235 w 529"/>
                  <a:gd name="T93" fmla="*/ 309 h 404"/>
                  <a:gd name="T94" fmla="*/ 219 w 529"/>
                  <a:gd name="T95" fmla="*/ 308 h 404"/>
                  <a:gd name="T96" fmla="*/ 197 w 529"/>
                  <a:gd name="T97" fmla="*/ 320 h 404"/>
                  <a:gd name="T98" fmla="*/ 213 w 529"/>
                  <a:gd name="T99" fmla="*/ 331 h 404"/>
                  <a:gd name="T100" fmla="*/ 185 w 529"/>
                  <a:gd name="T101" fmla="*/ 339 h 404"/>
                  <a:gd name="T102" fmla="*/ 163 w 529"/>
                  <a:gd name="T103" fmla="*/ 357 h 404"/>
                  <a:gd name="T104" fmla="*/ 141 w 529"/>
                  <a:gd name="T105" fmla="*/ 365 h 404"/>
                  <a:gd name="T106" fmla="*/ 112 w 529"/>
                  <a:gd name="T107" fmla="*/ 348 h 404"/>
                  <a:gd name="T108" fmla="*/ 86 w 529"/>
                  <a:gd name="T109" fmla="*/ 328 h 404"/>
                  <a:gd name="T110" fmla="*/ 55 w 529"/>
                  <a:gd name="T111" fmla="*/ 318 h 404"/>
                  <a:gd name="T112" fmla="*/ 35 w 529"/>
                  <a:gd name="T113" fmla="*/ 325 h 404"/>
                  <a:gd name="T114" fmla="*/ 24 w 529"/>
                  <a:gd name="T115" fmla="*/ 327 h 404"/>
                  <a:gd name="T116" fmla="*/ 2 w 529"/>
                  <a:gd name="T117" fmla="*/ 262 h 404"/>
                  <a:gd name="T118" fmla="*/ 28 w 529"/>
                  <a:gd name="T119" fmla="*/ 7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9" h="404">
                    <a:moveTo>
                      <a:pt x="316" y="374"/>
                    </a:moveTo>
                    <a:lnTo>
                      <a:pt x="318" y="376"/>
                    </a:lnTo>
                    <a:lnTo>
                      <a:pt x="322" y="376"/>
                    </a:lnTo>
                    <a:lnTo>
                      <a:pt x="323" y="376"/>
                    </a:lnTo>
                    <a:lnTo>
                      <a:pt x="324" y="377"/>
                    </a:lnTo>
                    <a:lnTo>
                      <a:pt x="324" y="376"/>
                    </a:lnTo>
                    <a:lnTo>
                      <a:pt x="325" y="376"/>
                    </a:lnTo>
                    <a:lnTo>
                      <a:pt x="325" y="377"/>
                    </a:lnTo>
                    <a:lnTo>
                      <a:pt x="326" y="377"/>
                    </a:lnTo>
                    <a:lnTo>
                      <a:pt x="325" y="378"/>
                    </a:lnTo>
                    <a:lnTo>
                      <a:pt x="322" y="377"/>
                    </a:lnTo>
                    <a:lnTo>
                      <a:pt x="320" y="377"/>
                    </a:lnTo>
                    <a:lnTo>
                      <a:pt x="320" y="379"/>
                    </a:lnTo>
                    <a:lnTo>
                      <a:pt x="319" y="379"/>
                    </a:lnTo>
                    <a:lnTo>
                      <a:pt x="318" y="379"/>
                    </a:lnTo>
                    <a:lnTo>
                      <a:pt x="317" y="378"/>
                    </a:lnTo>
                    <a:lnTo>
                      <a:pt x="316" y="377"/>
                    </a:lnTo>
                    <a:lnTo>
                      <a:pt x="315" y="374"/>
                    </a:lnTo>
                    <a:lnTo>
                      <a:pt x="316" y="374"/>
                    </a:lnTo>
                    <a:close/>
                    <a:moveTo>
                      <a:pt x="252" y="351"/>
                    </a:moveTo>
                    <a:lnTo>
                      <a:pt x="252" y="352"/>
                    </a:lnTo>
                    <a:lnTo>
                      <a:pt x="252" y="353"/>
                    </a:lnTo>
                    <a:lnTo>
                      <a:pt x="252" y="355"/>
                    </a:lnTo>
                    <a:lnTo>
                      <a:pt x="252" y="356"/>
                    </a:lnTo>
                    <a:lnTo>
                      <a:pt x="252" y="355"/>
                    </a:lnTo>
                    <a:lnTo>
                      <a:pt x="249" y="353"/>
                    </a:lnTo>
                    <a:lnTo>
                      <a:pt x="248" y="352"/>
                    </a:lnTo>
                    <a:lnTo>
                      <a:pt x="247" y="351"/>
                    </a:lnTo>
                    <a:lnTo>
                      <a:pt x="245" y="351"/>
                    </a:lnTo>
                    <a:lnTo>
                      <a:pt x="245" y="352"/>
                    </a:lnTo>
                    <a:lnTo>
                      <a:pt x="244" y="352"/>
                    </a:lnTo>
                    <a:lnTo>
                      <a:pt x="242" y="352"/>
                    </a:lnTo>
                    <a:lnTo>
                      <a:pt x="242" y="351"/>
                    </a:lnTo>
                    <a:lnTo>
                      <a:pt x="241" y="351"/>
                    </a:lnTo>
                    <a:lnTo>
                      <a:pt x="239" y="351"/>
                    </a:lnTo>
                    <a:lnTo>
                      <a:pt x="238" y="351"/>
                    </a:lnTo>
                    <a:lnTo>
                      <a:pt x="239" y="351"/>
                    </a:lnTo>
                    <a:lnTo>
                      <a:pt x="241" y="349"/>
                    </a:lnTo>
                    <a:lnTo>
                      <a:pt x="242" y="348"/>
                    </a:lnTo>
                    <a:lnTo>
                      <a:pt x="244" y="346"/>
                    </a:lnTo>
                    <a:lnTo>
                      <a:pt x="247" y="346"/>
                    </a:lnTo>
                    <a:lnTo>
                      <a:pt x="248" y="346"/>
                    </a:lnTo>
                    <a:lnTo>
                      <a:pt x="249" y="346"/>
                    </a:lnTo>
                    <a:lnTo>
                      <a:pt x="249" y="348"/>
                    </a:lnTo>
                    <a:lnTo>
                      <a:pt x="251" y="348"/>
                    </a:lnTo>
                    <a:lnTo>
                      <a:pt x="249" y="349"/>
                    </a:lnTo>
                    <a:lnTo>
                      <a:pt x="249" y="350"/>
                    </a:lnTo>
                    <a:lnTo>
                      <a:pt x="251" y="350"/>
                    </a:lnTo>
                    <a:lnTo>
                      <a:pt x="249" y="350"/>
                    </a:lnTo>
                    <a:lnTo>
                      <a:pt x="251" y="351"/>
                    </a:lnTo>
                    <a:lnTo>
                      <a:pt x="252" y="351"/>
                    </a:lnTo>
                    <a:close/>
                    <a:moveTo>
                      <a:pt x="254" y="337"/>
                    </a:moveTo>
                    <a:lnTo>
                      <a:pt x="255" y="337"/>
                    </a:lnTo>
                    <a:lnTo>
                      <a:pt x="258" y="337"/>
                    </a:lnTo>
                    <a:lnTo>
                      <a:pt x="259" y="337"/>
                    </a:lnTo>
                    <a:lnTo>
                      <a:pt x="259" y="338"/>
                    </a:lnTo>
                    <a:lnTo>
                      <a:pt x="260" y="338"/>
                    </a:lnTo>
                    <a:lnTo>
                      <a:pt x="261" y="341"/>
                    </a:lnTo>
                    <a:lnTo>
                      <a:pt x="261" y="342"/>
                    </a:lnTo>
                    <a:lnTo>
                      <a:pt x="260" y="342"/>
                    </a:lnTo>
                    <a:lnTo>
                      <a:pt x="258" y="342"/>
                    </a:lnTo>
                    <a:lnTo>
                      <a:pt x="256" y="342"/>
                    </a:lnTo>
                    <a:lnTo>
                      <a:pt x="254" y="344"/>
                    </a:lnTo>
                    <a:lnTo>
                      <a:pt x="253" y="345"/>
                    </a:lnTo>
                    <a:lnTo>
                      <a:pt x="251" y="344"/>
                    </a:lnTo>
                    <a:lnTo>
                      <a:pt x="248" y="343"/>
                    </a:lnTo>
                    <a:lnTo>
                      <a:pt x="248" y="342"/>
                    </a:lnTo>
                    <a:lnTo>
                      <a:pt x="248" y="341"/>
                    </a:lnTo>
                    <a:lnTo>
                      <a:pt x="248" y="339"/>
                    </a:lnTo>
                    <a:lnTo>
                      <a:pt x="251" y="337"/>
                    </a:lnTo>
                    <a:lnTo>
                      <a:pt x="249" y="337"/>
                    </a:lnTo>
                    <a:lnTo>
                      <a:pt x="249" y="336"/>
                    </a:lnTo>
                    <a:lnTo>
                      <a:pt x="251" y="335"/>
                    </a:lnTo>
                    <a:lnTo>
                      <a:pt x="252" y="336"/>
                    </a:lnTo>
                    <a:lnTo>
                      <a:pt x="254" y="337"/>
                    </a:lnTo>
                    <a:close/>
                    <a:moveTo>
                      <a:pt x="29" y="8"/>
                    </a:moveTo>
                    <a:lnTo>
                      <a:pt x="31" y="8"/>
                    </a:lnTo>
                    <a:lnTo>
                      <a:pt x="32" y="8"/>
                    </a:lnTo>
                    <a:lnTo>
                      <a:pt x="33" y="8"/>
                    </a:lnTo>
                    <a:lnTo>
                      <a:pt x="34" y="8"/>
                    </a:lnTo>
                    <a:lnTo>
                      <a:pt x="34" y="9"/>
                    </a:lnTo>
                    <a:lnTo>
                      <a:pt x="35" y="10"/>
                    </a:lnTo>
                    <a:lnTo>
                      <a:pt x="36" y="10"/>
                    </a:lnTo>
                    <a:lnTo>
                      <a:pt x="38" y="13"/>
                    </a:lnTo>
                    <a:lnTo>
                      <a:pt x="39" y="13"/>
                    </a:lnTo>
                    <a:lnTo>
                      <a:pt x="40" y="13"/>
                    </a:lnTo>
                    <a:lnTo>
                      <a:pt x="41" y="13"/>
                    </a:lnTo>
                    <a:lnTo>
                      <a:pt x="42" y="13"/>
                    </a:lnTo>
                    <a:lnTo>
                      <a:pt x="45" y="15"/>
                    </a:lnTo>
                    <a:lnTo>
                      <a:pt x="46" y="15"/>
                    </a:lnTo>
                    <a:lnTo>
                      <a:pt x="48" y="15"/>
                    </a:lnTo>
                    <a:lnTo>
                      <a:pt x="49" y="16"/>
                    </a:lnTo>
                    <a:lnTo>
                      <a:pt x="49" y="17"/>
                    </a:lnTo>
                    <a:lnTo>
                      <a:pt x="49" y="19"/>
                    </a:lnTo>
                    <a:lnTo>
                      <a:pt x="50" y="19"/>
                    </a:lnTo>
                    <a:lnTo>
                      <a:pt x="52" y="19"/>
                    </a:lnTo>
                    <a:lnTo>
                      <a:pt x="53" y="19"/>
                    </a:lnTo>
                    <a:lnTo>
                      <a:pt x="54" y="16"/>
                    </a:lnTo>
                    <a:lnTo>
                      <a:pt x="56" y="14"/>
                    </a:lnTo>
                    <a:lnTo>
                      <a:pt x="59" y="13"/>
                    </a:lnTo>
                    <a:lnTo>
                      <a:pt x="61" y="12"/>
                    </a:lnTo>
                    <a:lnTo>
                      <a:pt x="63" y="12"/>
                    </a:lnTo>
                    <a:lnTo>
                      <a:pt x="64" y="12"/>
                    </a:lnTo>
                    <a:lnTo>
                      <a:pt x="67" y="14"/>
                    </a:lnTo>
                    <a:lnTo>
                      <a:pt x="69" y="14"/>
                    </a:lnTo>
                    <a:lnTo>
                      <a:pt x="71" y="14"/>
                    </a:lnTo>
                    <a:lnTo>
                      <a:pt x="73" y="14"/>
                    </a:lnTo>
                    <a:lnTo>
                      <a:pt x="74" y="13"/>
                    </a:lnTo>
                    <a:lnTo>
                      <a:pt x="75" y="14"/>
                    </a:lnTo>
                    <a:lnTo>
                      <a:pt x="76" y="14"/>
                    </a:lnTo>
                    <a:lnTo>
                      <a:pt x="79" y="13"/>
                    </a:lnTo>
                    <a:lnTo>
                      <a:pt x="82" y="14"/>
                    </a:lnTo>
                    <a:lnTo>
                      <a:pt x="83" y="15"/>
                    </a:lnTo>
                    <a:lnTo>
                      <a:pt x="84" y="17"/>
                    </a:lnTo>
                    <a:lnTo>
                      <a:pt x="85" y="17"/>
                    </a:lnTo>
                    <a:lnTo>
                      <a:pt x="86" y="17"/>
                    </a:lnTo>
                    <a:lnTo>
                      <a:pt x="88" y="17"/>
                    </a:lnTo>
                    <a:lnTo>
                      <a:pt x="89" y="19"/>
                    </a:lnTo>
                    <a:lnTo>
                      <a:pt x="90" y="20"/>
                    </a:lnTo>
                    <a:lnTo>
                      <a:pt x="91" y="20"/>
                    </a:lnTo>
                    <a:lnTo>
                      <a:pt x="92" y="20"/>
                    </a:lnTo>
                    <a:lnTo>
                      <a:pt x="93" y="22"/>
                    </a:lnTo>
                    <a:lnTo>
                      <a:pt x="93" y="23"/>
                    </a:lnTo>
                    <a:lnTo>
                      <a:pt x="93" y="26"/>
                    </a:lnTo>
                    <a:lnTo>
                      <a:pt x="95" y="27"/>
                    </a:lnTo>
                    <a:lnTo>
                      <a:pt x="95" y="28"/>
                    </a:lnTo>
                    <a:lnTo>
                      <a:pt x="96" y="29"/>
                    </a:lnTo>
                    <a:lnTo>
                      <a:pt x="97" y="30"/>
                    </a:lnTo>
                    <a:lnTo>
                      <a:pt x="98" y="31"/>
                    </a:lnTo>
                    <a:lnTo>
                      <a:pt x="99" y="31"/>
                    </a:lnTo>
                    <a:lnTo>
                      <a:pt x="100" y="31"/>
                    </a:lnTo>
                    <a:lnTo>
                      <a:pt x="102" y="31"/>
                    </a:lnTo>
                    <a:lnTo>
                      <a:pt x="102" y="33"/>
                    </a:lnTo>
                    <a:lnTo>
                      <a:pt x="102" y="34"/>
                    </a:lnTo>
                    <a:lnTo>
                      <a:pt x="100" y="36"/>
                    </a:lnTo>
                    <a:lnTo>
                      <a:pt x="99" y="37"/>
                    </a:lnTo>
                    <a:lnTo>
                      <a:pt x="99" y="38"/>
                    </a:lnTo>
                    <a:lnTo>
                      <a:pt x="99" y="45"/>
                    </a:lnTo>
                    <a:lnTo>
                      <a:pt x="100" y="47"/>
                    </a:lnTo>
                    <a:lnTo>
                      <a:pt x="104" y="50"/>
                    </a:lnTo>
                    <a:lnTo>
                      <a:pt x="104" y="51"/>
                    </a:lnTo>
                    <a:lnTo>
                      <a:pt x="104" y="52"/>
                    </a:lnTo>
                    <a:lnTo>
                      <a:pt x="104" y="54"/>
                    </a:lnTo>
                    <a:lnTo>
                      <a:pt x="105" y="56"/>
                    </a:lnTo>
                    <a:lnTo>
                      <a:pt x="107" y="59"/>
                    </a:lnTo>
                    <a:lnTo>
                      <a:pt x="107" y="61"/>
                    </a:lnTo>
                    <a:lnTo>
                      <a:pt x="107" y="62"/>
                    </a:lnTo>
                    <a:lnTo>
                      <a:pt x="107" y="63"/>
                    </a:lnTo>
                    <a:lnTo>
                      <a:pt x="109" y="63"/>
                    </a:lnTo>
                    <a:lnTo>
                      <a:pt x="109" y="64"/>
                    </a:lnTo>
                    <a:lnTo>
                      <a:pt x="110" y="64"/>
                    </a:lnTo>
                    <a:lnTo>
                      <a:pt x="111" y="64"/>
                    </a:lnTo>
                    <a:lnTo>
                      <a:pt x="112" y="64"/>
                    </a:lnTo>
                    <a:lnTo>
                      <a:pt x="113" y="65"/>
                    </a:lnTo>
                    <a:lnTo>
                      <a:pt x="114" y="65"/>
                    </a:lnTo>
                    <a:lnTo>
                      <a:pt x="114" y="64"/>
                    </a:lnTo>
                    <a:lnTo>
                      <a:pt x="113" y="63"/>
                    </a:lnTo>
                    <a:lnTo>
                      <a:pt x="113" y="62"/>
                    </a:lnTo>
                    <a:lnTo>
                      <a:pt x="113" y="61"/>
                    </a:lnTo>
                    <a:lnTo>
                      <a:pt x="114" y="61"/>
                    </a:lnTo>
                    <a:lnTo>
                      <a:pt x="116" y="61"/>
                    </a:lnTo>
                    <a:lnTo>
                      <a:pt x="117" y="62"/>
                    </a:lnTo>
                    <a:lnTo>
                      <a:pt x="117" y="61"/>
                    </a:lnTo>
                    <a:lnTo>
                      <a:pt x="118" y="59"/>
                    </a:lnTo>
                    <a:lnTo>
                      <a:pt x="118" y="58"/>
                    </a:lnTo>
                    <a:lnTo>
                      <a:pt x="118" y="57"/>
                    </a:lnTo>
                    <a:lnTo>
                      <a:pt x="118" y="56"/>
                    </a:lnTo>
                    <a:lnTo>
                      <a:pt x="119" y="54"/>
                    </a:lnTo>
                    <a:lnTo>
                      <a:pt x="120" y="52"/>
                    </a:lnTo>
                    <a:lnTo>
                      <a:pt x="121" y="51"/>
                    </a:lnTo>
                    <a:lnTo>
                      <a:pt x="124" y="51"/>
                    </a:lnTo>
                    <a:lnTo>
                      <a:pt x="124" y="50"/>
                    </a:lnTo>
                    <a:lnTo>
                      <a:pt x="125" y="51"/>
                    </a:lnTo>
                    <a:lnTo>
                      <a:pt x="125" y="52"/>
                    </a:lnTo>
                    <a:lnTo>
                      <a:pt x="127" y="54"/>
                    </a:lnTo>
                    <a:lnTo>
                      <a:pt x="127" y="55"/>
                    </a:lnTo>
                    <a:lnTo>
                      <a:pt x="128" y="56"/>
                    </a:lnTo>
                    <a:lnTo>
                      <a:pt x="128" y="57"/>
                    </a:lnTo>
                    <a:lnTo>
                      <a:pt x="128" y="58"/>
                    </a:lnTo>
                    <a:lnTo>
                      <a:pt x="131" y="57"/>
                    </a:lnTo>
                    <a:lnTo>
                      <a:pt x="132" y="57"/>
                    </a:lnTo>
                    <a:lnTo>
                      <a:pt x="134" y="58"/>
                    </a:lnTo>
                    <a:lnTo>
                      <a:pt x="135" y="59"/>
                    </a:lnTo>
                    <a:lnTo>
                      <a:pt x="135" y="58"/>
                    </a:lnTo>
                    <a:lnTo>
                      <a:pt x="137" y="58"/>
                    </a:lnTo>
                    <a:lnTo>
                      <a:pt x="139" y="59"/>
                    </a:lnTo>
                    <a:lnTo>
                      <a:pt x="145" y="61"/>
                    </a:lnTo>
                    <a:lnTo>
                      <a:pt x="146" y="61"/>
                    </a:lnTo>
                    <a:lnTo>
                      <a:pt x="149" y="63"/>
                    </a:lnTo>
                    <a:lnTo>
                      <a:pt x="149" y="64"/>
                    </a:lnTo>
                    <a:lnTo>
                      <a:pt x="150" y="65"/>
                    </a:lnTo>
                    <a:lnTo>
                      <a:pt x="152" y="65"/>
                    </a:lnTo>
                    <a:lnTo>
                      <a:pt x="152" y="66"/>
                    </a:lnTo>
                    <a:lnTo>
                      <a:pt x="153" y="68"/>
                    </a:lnTo>
                    <a:lnTo>
                      <a:pt x="154" y="68"/>
                    </a:lnTo>
                    <a:lnTo>
                      <a:pt x="155" y="68"/>
                    </a:lnTo>
                    <a:lnTo>
                      <a:pt x="156" y="69"/>
                    </a:lnTo>
                    <a:lnTo>
                      <a:pt x="157" y="70"/>
                    </a:lnTo>
                    <a:lnTo>
                      <a:pt x="156" y="70"/>
                    </a:lnTo>
                    <a:lnTo>
                      <a:pt x="156" y="71"/>
                    </a:lnTo>
                    <a:lnTo>
                      <a:pt x="156" y="72"/>
                    </a:lnTo>
                    <a:lnTo>
                      <a:pt x="156" y="73"/>
                    </a:lnTo>
                    <a:lnTo>
                      <a:pt x="156" y="75"/>
                    </a:lnTo>
                    <a:lnTo>
                      <a:pt x="155" y="76"/>
                    </a:lnTo>
                    <a:lnTo>
                      <a:pt x="155" y="77"/>
                    </a:lnTo>
                    <a:lnTo>
                      <a:pt x="155" y="78"/>
                    </a:lnTo>
                    <a:lnTo>
                      <a:pt x="155" y="79"/>
                    </a:lnTo>
                    <a:lnTo>
                      <a:pt x="154" y="80"/>
                    </a:lnTo>
                    <a:lnTo>
                      <a:pt x="154" y="82"/>
                    </a:lnTo>
                    <a:lnTo>
                      <a:pt x="155" y="84"/>
                    </a:lnTo>
                    <a:lnTo>
                      <a:pt x="155" y="89"/>
                    </a:lnTo>
                    <a:lnTo>
                      <a:pt x="155" y="91"/>
                    </a:lnTo>
                    <a:lnTo>
                      <a:pt x="156" y="94"/>
                    </a:lnTo>
                    <a:lnTo>
                      <a:pt x="157" y="97"/>
                    </a:lnTo>
                    <a:lnTo>
                      <a:pt x="159" y="98"/>
                    </a:lnTo>
                    <a:lnTo>
                      <a:pt x="160" y="99"/>
                    </a:lnTo>
                    <a:lnTo>
                      <a:pt x="161" y="99"/>
                    </a:lnTo>
                    <a:lnTo>
                      <a:pt x="166" y="101"/>
                    </a:lnTo>
                    <a:lnTo>
                      <a:pt x="167" y="101"/>
                    </a:lnTo>
                    <a:lnTo>
                      <a:pt x="168" y="103"/>
                    </a:lnTo>
                    <a:lnTo>
                      <a:pt x="168" y="104"/>
                    </a:lnTo>
                    <a:lnTo>
                      <a:pt x="168" y="106"/>
                    </a:lnTo>
                    <a:lnTo>
                      <a:pt x="168" y="107"/>
                    </a:lnTo>
                    <a:lnTo>
                      <a:pt x="168" y="108"/>
                    </a:lnTo>
                    <a:lnTo>
                      <a:pt x="167" y="108"/>
                    </a:lnTo>
                    <a:lnTo>
                      <a:pt x="167" y="110"/>
                    </a:lnTo>
                    <a:lnTo>
                      <a:pt x="168" y="111"/>
                    </a:lnTo>
                    <a:lnTo>
                      <a:pt x="171" y="113"/>
                    </a:lnTo>
                    <a:lnTo>
                      <a:pt x="176" y="114"/>
                    </a:lnTo>
                    <a:lnTo>
                      <a:pt x="178" y="117"/>
                    </a:lnTo>
                    <a:lnTo>
                      <a:pt x="180" y="117"/>
                    </a:lnTo>
                    <a:lnTo>
                      <a:pt x="180" y="118"/>
                    </a:lnTo>
                    <a:lnTo>
                      <a:pt x="181" y="118"/>
                    </a:lnTo>
                    <a:lnTo>
                      <a:pt x="182" y="119"/>
                    </a:lnTo>
                    <a:lnTo>
                      <a:pt x="183" y="120"/>
                    </a:lnTo>
                    <a:lnTo>
                      <a:pt x="185" y="122"/>
                    </a:lnTo>
                    <a:lnTo>
                      <a:pt x="189" y="124"/>
                    </a:lnTo>
                    <a:lnTo>
                      <a:pt x="190" y="125"/>
                    </a:lnTo>
                    <a:lnTo>
                      <a:pt x="191" y="127"/>
                    </a:lnTo>
                    <a:lnTo>
                      <a:pt x="192" y="128"/>
                    </a:lnTo>
                    <a:lnTo>
                      <a:pt x="195" y="128"/>
                    </a:lnTo>
                    <a:lnTo>
                      <a:pt x="197" y="129"/>
                    </a:lnTo>
                    <a:lnTo>
                      <a:pt x="199" y="135"/>
                    </a:lnTo>
                    <a:lnTo>
                      <a:pt x="201" y="138"/>
                    </a:lnTo>
                    <a:lnTo>
                      <a:pt x="202" y="138"/>
                    </a:lnTo>
                    <a:lnTo>
                      <a:pt x="203" y="138"/>
                    </a:lnTo>
                    <a:lnTo>
                      <a:pt x="203" y="139"/>
                    </a:lnTo>
                    <a:lnTo>
                      <a:pt x="204" y="140"/>
                    </a:lnTo>
                    <a:lnTo>
                      <a:pt x="205" y="141"/>
                    </a:lnTo>
                    <a:lnTo>
                      <a:pt x="206" y="142"/>
                    </a:lnTo>
                    <a:lnTo>
                      <a:pt x="207" y="143"/>
                    </a:lnTo>
                    <a:lnTo>
                      <a:pt x="209" y="143"/>
                    </a:lnTo>
                    <a:lnTo>
                      <a:pt x="211" y="145"/>
                    </a:lnTo>
                    <a:lnTo>
                      <a:pt x="212" y="148"/>
                    </a:lnTo>
                    <a:lnTo>
                      <a:pt x="214" y="155"/>
                    </a:lnTo>
                    <a:lnTo>
                      <a:pt x="214" y="157"/>
                    </a:lnTo>
                    <a:lnTo>
                      <a:pt x="216" y="159"/>
                    </a:lnTo>
                    <a:lnTo>
                      <a:pt x="218" y="159"/>
                    </a:lnTo>
                    <a:lnTo>
                      <a:pt x="224" y="168"/>
                    </a:lnTo>
                    <a:lnTo>
                      <a:pt x="225" y="168"/>
                    </a:lnTo>
                    <a:lnTo>
                      <a:pt x="227" y="169"/>
                    </a:lnTo>
                    <a:lnTo>
                      <a:pt x="228" y="169"/>
                    </a:lnTo>
                    <a:lnTo>
                      <a:pt x="230" y="170"/>
                    </a:lnTo>
                    <a:lnTo>
                      <a:pt x="230" y="171"/>
                    </a:lnTo>
                    <a:lnTo>
                      <a:pt x="231" y="171"/>
                    </a:lnTo>
                    <a:lnTo>
                      <a:pt x="231" y="173"/>
                    </a:lnTo>
                    <a:lnTo>
                      <a:pt x="232" y="174"/>
                    </a:lnTo>
                    <a:lnTo>
                      <a:pt x="233" y="174"/>
                    </a:lnTo>
                    <a:lnTo>
                      <a:pt x="235" y="174"/>
                    </a:lnTo>
                    <a:lnTo>
                      <a:pt x="237" y="173"/>
                    </a:lnTo>
                    <a:lnTo>
                      <a:pt x="240" y="170"/>
                    </a:lnTo>
                    <a:lnTo>
                      <a:pt x="241" y="170"/>
                    </a:lnTo>
                    <a:lnTo>
                      <a:pt x="242" y="170"/>
                    </a:lnTo>
                    <a:lnTo>
                      <a:pt x="245" y="171"/>
                    </a:lnTo>
                    <a:lnTo>
                      <a:pt x="246" y="171"/>
                    </a:lnTo>
                    <a:lnTo>
                      <a:pt x="246" y="170"/>
                    </a:lnTo>
                    <a:lnTo>
                      <a:pt x="246" y="169"/>
                    </a:lnTo>
                    <a:lnTo>
                      <a:pt x="245" y="168"/>
                    </a:lnTo>
                    <a:lnTo>
                      <a:pt x="245" y="167"/>
                    </a:lnTo>
                    <a:lnTo>
                      <a:pt x="244" y="164"/>
                    </a:lnTo>
                    <a:lnTo>
                      <a:pt x="245" y="163"/>
                    </a:lnTo>
                    <a:lnTo>
                      <a:pt x="246" y="161"/>
                    </a:lnTo>
                    <a:lnTo>
                      <a:pt x="247" y="157"/>
                    </a:lnTo>
                    <a:lnTo>
                      <a:pt x="247" y="156"/>
                    </a:lnTo>
                    <a:lnTo>
                      <a:pt x="248" y="155"/>
                    </a:lnTo>
                    <a:lnTo>
                      <a:pt x="249" y="155"/>
                    </a:lnTo>
                    <a:lnTo>
                      <a:pt x="256" y="154"/>
                    </a:lnTo>
                    <a:lnTo>
                      <a:pt x="262" y="155"/>
                    </a:lnTo>
                    <a:lnTo>
                      <a:pt x="263" y="155"/>
                    </a:lnTo>
                    <a:lnTo>
                      <a:pt x="266" y="156"/>
                    </a:lnTo>
                    <a:lnTo>
                      <a:pt x="268" y="157"/>
                    </a:lnTo>
                    <a:lnTo>
                      <a:pt x="271" y="157"/>
                    </a:lnTo>
                    <a:lnTo>
                      <a:pt x="276" y="155"/>
                    </a:lnTo>
                    <a:lnTo>
                      <a:pt x="278" y="155"/>
                    </a:lnTo>
                    <a:lnTo>
                      <a:pt x="281" y="155"/>
                    </a:lnTo>
                    <a:lnTo>
                      <a:pt x="283" y="156"/>
                    </a:lnTo>
                    <a:lnTo>
                      <a:pt x="292" y="166"/>
                    </a:lnTo>
                    <a:lnTo>
                      <a:pt x="295" y="168"/>
                    </a:lnTo>
                    <a:lnTo>
                      <a:pt x="297" y="168"/>
                    </a:lnTo>
                    <a:lnTo>
                      <a:pt x="302" y="167"/>
                    </a:lnTo>
                    <a:lnTo>
                      <a:pt x="303" y="167"/>
                    </a:lnTo>
                    <a:lnTo>
                      <a:pt x="304" y="168"/>
                    </a:lnTo>
                    <a:lnTo>
                      <a:pt x="305" y="168"/>
                    </a:lnTo>
                    <a:lnTo>
                      <a:pt x="305" y="169"/>
                    </a:lnTo>
                    <a:lnTo>
                      <a:pt x="305" y="170"/>
                    </a:lnTo>
                    <a:lnTo>
                      <a:pt x="306" y="171"/>
                    </a:lnTo>
                    <a:lnTo>
                      <a:pt x="309" y="171"/>
                    </a:lnTo>
                    <a:lnTo>
                      <a:pt x="311" y="171"/>
                    </a:lnTo>
                    <a:lnTo>
                      <a:pt x="311" y="173"/>
                    </a:lnTo>
                    <a:lnTo>
                      <a:pt x="312" y="173"/>
                    </a:lnTo>
                    <a:lnTo>
                      <a:pt x="317" y="174"/>
                    </a:lnTo>
                    <a:lnTo>
                      <a:pt x="318" y="174"/>
                    </a:lnTo>
                    <a:lnTo>
                      <a:pt x="318" y="175"/>
                    </a:lnTo>
                    <a:lnTo>
                      <a:pt x="319" y="175"/>
                    </a:lnTo>
                    <a:lnTo>
                      <a:pt x="320" y="175"/>
                    </a:lnTo>
                    <a:lnTo>
                      <a:pt x="320" y="174"/>
                    </a:lnTo>
                    <a:lnTo>
                      <a:pt x="322" y="174"/>
                    </a:lnTo>
                    <a:lnTo>
                      <a:pt x="323" y="174"/>
                    </a:lnTo>
                    <a:lnTo>
                      <a:pt x="325" y="175"/>
                    </a:lnTo>
                    <a:lnTo>
                      <a:pt x="329" y="176"/>
                    </a:lnTo>
                    <a:lnTo>
                      <a:pt x="330" y="176"/>
                    </a:lnTo>
                    <a:lnTo>
                      <a:pt x="333" y="171"/>
                    </a:lnTo>
                    <a:lnTo>
                      <a:pt x="334" y="171"/>
                    </a:lnTo>
                    <a:lnTo>
                      <a:pt x="335" y="173"/>
                    </a:lnTo>
                    <a:lnTo>
                      <a:pt x="335" y="171"/>
                    </a:lnTo>
                    <a:lnTo>
                      <a:pt x="337" y="171"/>
                    </a:lnTo>
                    <a:lnTo>
                      <a:pt x="338" y="171"/>
                    </a:lnTo>
                    <a:lnTo>
                      <a:pt x="339" y="173"/>
                    </a:lnTo>
                    <a:lnTo>
                      <a:pt x="344" y="174"/>
                    </a:lnTo>
                    <a:lnTo>
                      <a:pt x="345" y="174"/>
                    </a:lnTo>
                    <a:lnTo>
                      <a:pt x="347" y="176"/>
                    </a:lnTo>
                    <a:lnTo>
                      <a:pt x="347" y="177"/>
                    </a:lnTo>
                    <a:lnTo>
                      <a:pt x="349" y="177"/>
                    </a:lnTo>
                    <a:lnTo>
                      <a:pt x="351" y="177"/>
                    </a:lnTo>
                    <a:lnTo>
                      <a:pt x="352" y="178"/>
                    </a:lnTo>
                    <a:lnTo>
                      <a:pt x="352" y="180"/>
                    </a:lnTo>
                    <a:lnTo>
                      <a:pt x="353" y="180"/>
                    </a:lnTo>
                    <a:lnTo>
                      <a:pt x="355" y="180"/>
                    </a:lnTo>
                    <a:lnTo>
                      <a:pt x="355" y="181"/>
                    </a:lnTo>
                    <a:lnTo>
                      <a:pt x="356" y="182"/>
                    </a:lnTo>
                    <a:lnTo>
                      <a:pt x="359" y="182"/>
                    </a:lnTo>
                    <a:lnTo>
                      <a:pt x="360" y="183"/>
                    </a:lnTo>
                    <a:lnTo>
                      <a:pt x="361" y="184"/>
                    </a:lnTo>
                    <a:lnTo>
                      <a:pt x="363" y="184"/>
                    </a:lnTo>
                    <a:lnTo>
                      <a:pt x="363" y="183"/>
                    </a:lnTo>
                    <a:lnTo>
                      <a:pt x="365" y="183"/>
                    </a:lnTo>
                    <a:lnTo>
                      <a:pt x="366" y="183"/>
                    </a:lnTo>
                    <a:lnTo>
                      <a:pt x="367" y="183"/>
                    </a:lnTo>
                    <a:lnTo>
                      <a:pt x="368" y="184"/>
                    </a:lnTo>
                    <a:lnTo>
                      <a:pt x="368" y="187"/>
                    </a:lnTo>
                    <a:lnTo>
                      <a:pt x="368" y="189"/>
                    </a:lnTo>
                    <a:lnTo>
                      <a:pt x="368" y="191"/>
                    </a:lnTo>
                    <a:lnTo>
                      <a:pt x="370" y="194"/>
                    </a:lnTo>
                    <a:lnTo>
                      <a:pt x="370" y="195"/>
                    </a:lnTo>
                    <a:lnTo>
                      <a:pt x="376" y="194"/>
                    </a:lnTo>
                    <a:lnTo>
                      <a:pt x="376" y="192"/>
                    </a:lnTo>
                    <a:lnTo>
                      <a:pt x="375" y="192"/>
                    </a:lnTo>
                    <a:lnTo>
                      <a:pt x="374" y="192"/>
                    </a:lnTo>
                    <a:lnTo>
                      <a:pt x="373" y="191"/>
                    </a:lnTo>
                    <a:lnTo>
                      <a:pt x="372" y="191"/>
                    </a:lnTo>
                    <a:lnTo>
                      <a:pt x="372" y="190"/>
                    </a:lnTo>
                    <a:lnTo>
                      <a:pt x="370" y="190"/>
                    </a:lnTo>
                    <a:lnTo>
                      <a:pt x="370" y="189"/>
                    </a:lnTo>
                    <a:lnTo>
                      <a:pt x="370" y="188"/>
                    </a:lnTo>
                    <a:lnTo>
                      <a:pt x="370" y="187"/>
                    </a:lnTo>
                    <a:lnTo>
                      <a:pt x="370" y="185"/>
                    </a:lnTo>
                    <a:lnTo>
                      <a:pt x="370" y="184"/>
                    </a:lnTo>
                    <a:lnTo>
                      <a:pt x="372" y="183"/>
                    </a:lnTo>
                    <a:lnTo>
                      <a:pt x="372" y="182"/>
                    </a:lnTo>
                    <a:lnTo>
                      <a:pt x="374" y="181"/>
                    </a:lnTo>
                    <a:lnTo>
                      <a:pt x="374" y="180"/>
                    </a:lnTo>
                    <a:lnTo>
                      <a:pt x="375" y="180"/>
                    </a:lnTo>
                    <a:lnTo>
                      <a:pt x="375" y="181"/>
                    </a:lnTo>
                    <a:lnTo>
                      <a:pt x="376" y="182"/>
                    </a:lnTo>
                    <a:lnTo>
                      <a:pt x="377" y="182"/>
                    </a:lnTo>
                    <a:lnTo>
                      <a:pt x="379" y="182"/>
                    </a:lnTo>
                    <a:lnTo>
                      <a:pt x="382" y="182"/>
                    </a:lnTo>
                    <a:lnTo>
                      <a:pt x="383" y="182"/>
                    </a:lnTo>
                    <a:lnTo>
                      <a:pt x="384" y="182"/>
                    </a:lnTo>
                    <a:lnTo>
                      <a:pt x="386" y="183"/>
                    </a:lnTo>
                    <a:lnTo>
                      <a:pt x="386" y="184"/>
                    </a:lnTo>
                    <a:lnTo>
                      <a:pt x="387" y="183"/>
                    </a:lnTo>
                    <a:lnTo>
                      <a:pt x="388" y="178"/>
                    </a:lnTo>
                    <a:lnTo>
                      <a:pt x="389" y="177"/>
                    </a:lnTo>
                    <a:lnTo>
                      <a:pt x="390" y="176"/>
                    </a:lnTo>
                    <a:lnTo>
                      <a:pt x="391" y="176"/>
                    </a:lnTo>
                    <a:lnTo>
                      <a:pt x="394" y="176"/>
                    </a:lnTo>
                    <a:lnTo>
                      <a:pt x="395" y="175"/>
                    </a:lnTo>
                    <a:lnTo>
                      <a:pt x="396" y="175"/>
                    </a:lnTo>
                    <a:lnTo>
                      <a:pt x="396" y="176"/>
                    </a:lnTo>
                    <a:lnTo>
                      <a:pt x="397" y="176"/>
                    </a:lnTo>
                    <a:lnTo>
                      <a:pt x="398" y="177"/>
                    </a:lnTo>
                    <a:lnTo>
                      <a:pt x="398" y="178"/>
                    </a:lnTo>
                    <a:lnTo>
                      <a:pt x="399" y="180"/>
                    </a:lnTo>
                    <a:lnTo>
                      <a:pt x="406" y="177"/>
                    </a:lnTo>
                    <a:lnTo>
                      <a:pt x="408" y="176"/>
                    </a:lnTo>
                    <a:lnTo>
                      <a:pt x="409" y="176"/>
                    </a:lnTo>
                    <a:lnTo>
                      <a:pt x="410" y="177"/>
                    </a:lnTo>
                    <a:lnTo>
                      <a:pt x="411" y="177"/>
                    </a:lnTo>
                    <a:lnTo>
                      <a:pt x="418" y="182"/>
                    </a:lnTo>
                    <a:lnTo>
                      <a:pt x="419" y="182"/>
                    </a:lnTo>
                    <a:lnTo>
                      <a:pt x="420" y="182"/>
                    </a:lnTo>
                    <a:lnTo>
                      <a:pt x="420" y="183"/>
                    </a:lnTo>
                    <a:lnTo>
                      <a:pt x="420" y="184"/>
                    </a:lnTo>
                    <a:lnTo>
                      <a:pt x="422" y="184"/>
                    </a:lnTo>
                    <a:lnTo>
                      <a:pt x="422" y="185"/>
                    </a:lnTo>
                    <a:lnTo>
                      <a:pt x="423" y="185"/>
                    </a:lnTo>
                    <a:lnTo>
                      <a:pt x="424" y="185"/>
                    </a:lnTo>
                    <a:lnTo>
                      <a:pt x="425" y="187"/>
                    </a:lnTo>
                    <a:lnTo>
                      <a:pt x="425" y="188"/>
                    </a:lnTo>
                    <a:lnTo>
                      <a:pt x="425" y="189"/>
                    </a:lnTo>
                    <a:lnTo>
                      <a:pt x="424" y="191"/>
                    </a:lnTo>
                    <a:lnTo>
                      <a:pt x="425" y="192"/>
                    </a:lnTo>
                    <a:lnTo>
                      <a:pt x="426" y="194"/>
                    </a:lnTo>
                    <a:lnTo>
                      <a:pt x="427" y="196"/>
                    </a:lnTo>
                    <a:lnTo>
                      <a:pt x="426" y="198"/>
                    </a:lnTo>
                    <a:lnTo>
                      <a:pt x="425" y="201"/>
                    </a:lnTo>
                    <a:lnTo>
                      <a:pt x="426" y="201"/>
                    </a:lnTo>
                    <a:lnTo>
                      <a:pt x="426" y="202"/>
                    </a:lnTo>
                    <a:lnTo>
                      <a:pt x="427" y="206"/>
                    </a:lnTo>
                    <a:lnTo>
                      <a:pt x="427" y="208"/>
                    </a:lnTo>
                    <a:lnTo>
                      <a:pt x="427" y="209"/>
                    </a:lnTo>
                    <a:lnTo>
                      <a:pt x="427" y="210"/>
                    </a:lnTo>
                    <a:lnTo>
                      <a:pt x="426" y="211"/>
                    </a:lnTo>
                    <a:lnTo>
                      <a:pt x="426" y="213"/>
                    </a:lnTo>
                    <a:lnTo>
                      <a:pt x="427" y="215"/>
                    </a:lnTo>
                    <a:lnTo>
                      <a:pt x="429" y="216"/>
                    </a:lnTo>
                    <a:lnTo>
                      <a:pt x="430" y="217"/>
                    </a:lnTo>
                    <a:lnTo>
                      <a:pt x="430" y="219"/>
                    </a:lnTo>
                    <a:lnTo>
                      <a:pt x="430" y="220"/>
                    </a:lnTo>
                    <a:lnTo>
                      <a:pt x="430" y="224"/>
                    </a:lnTo>
                    <a:lnTo>
                      <a:pt x="430" y="225"/>
                    </a:lnTo>
                    <a:lnTo>
                      <a:pt x="431" y="226"/>
                    </a:lnTo>
                    <a:lnTo>
                      <a:pt x="432" y="226"/>
                    </a:lnTo>
                    <a:lnTo>
                      <a:pt x="433" y="229"/>
                    </a:lnTo>
                    <a:lnTo>
                      <a:pt x="433" y="230"/>
                    </a:lnTo>
                    <a:lnTo>
                      <a:pt x="433" y="232"/>
                    </a:lnTo>
                    <a:lnTo>
                      <a:pt x="432" y="233"/>
                    </a:lnTo>
                    <a:lnTo>
                      <a:pt x="431" y="234"/>
                    </a:lnTo>
                    <a:lnTo>
                      <a:pt x="426" y="240"/>
                    </a:lnTo>
                    <a:lnTo>
                      <a:pt x="426" y="241"/>
                    </a:lnTo>
                    <a:lnTo>
                      <a:pt x="427" y="241"/>
                    </a:lnTo>
                    <a:lnTo>
                      <a:pt x="429" y="241"/>
                    </a:lnTo>
                    <a:lnTo>
                      <a:pt x="432" y="243"/>
                    </a:lnTo>
                    <a:lnTo>
                      <a:pt x="433" y="244"/>
                    </a:lnTo>
                    <a:lnTo>
                      <a:pt x="445" y="252"/>
                    </a:lnTo>
                    <a:lnTo>
                      <a:pt x="458" y="259"/>
                    </a:lnTo>
                    <a:lnTo>
                      <a:pt x="469" y="267"/>
                    </a:lnTo>
                    <a:lnTo>
                      <a:pt x="481" y="275"/>
                    </a:lnTo>
                    <a:lnTo>
                      <a:pt x="493" y="283"/>
                    </a:lnTo>
                    <a:lnTo>
                      <a:pt x="505" y="292"/>
                    </a:lnTo>
                    <a:lnTo>
                      <a:pt x="517" y="299"/>
                    </a:lnTo>
                    <a:lnTo>
                      <a:pt x="529" y="307"/>
                    </a:lnTo>
                    <a:lnTo>
                      <a:pt x="527" y="308"/>
                    </a:lnTo>
                    <a:lnTo>
                      <a:pt x="524" y="309"/>
                    </a:lnTo>
                    <a:lnTo>
                      <a:pt x="517" y="309"/>
                    </a:lnTo>
                    <a:lnTo>
                      <a:pt x="517" y="308"/>
                    </a:lnTo>
                    <a:lnTo>
                      <a:pt x="518" y="307"/>
                    </a:lnTo>
                    <a:lnTo>
                      <a:pt x="518" y="306"/>
                    </a:lnTo>
                    <a:lnTo>
                      <a:pt x="517" y="306"/>
                    </a:lnTo>
                    <a:lnTo>
                      <a:pt x="516" y="307"/>
                    </a:lnTo>
                    <a:lnTo>
                      <a:pt x="514" y="306"/>
                    </a:lnTo>
                    <a:lnTo>
                      <a:pt x="516" y="309"/>
                    </a:lnTo>
                    <a:lnTo>
                      <a:pt x="516" y="310"/>
                    </a:lnTo>
                    <a:lnTo>
                      <a:pt x="515" y="311"/>
                    </a:lnTo>
                    <a:lnTo>
                      <a:pt x="512" y="313"/>
                    </a:lnTo>
                    <a:lnTo>
                      <a:pt x="512" y="315"/>
                    </a:lnTo>
                    <a:lnTo>
                      <a:pt x="510" y="318"/>
                    </a:lnTo>
                    <a:lnTo>
                      <a:pt x="509" y="318"/>
                    </a:lnTo>
                    <a:lnTo>
                      <a:pt x="505" y="318"/>
                    </a:lnTo>
                    <a:lnTo>
                      <a:pt x="505" y="320"/>
                    </a:lnTo>
                    <a:lnTo>
                      <a:pt x="504" y="321"/>
                    </a:lnTo>
                    <a:lnTo>
                      <a:pt x="503" y="321"/>
                    </a:lnTo>
                    <a:lnTo>
                      <a:pt x="501" y="321"/>
                    </a:lnTo>
                    <a:lnTo>
                      <a:pt x="500" y="322"/>
                    </a:lnTo>
                    <a:lnTo>
                      <a:pt x="498" y="322"/>
                    </a:lnTo>
                    <a:lnTo>
                      <a:pt x="498" y="323"/>
                    </a:lnTo>
                    <a:lnTo>
                      <a:pt x="497" y="323"/>
                    </a:lnTo>
                    <a:lnTo>
                      <a:pt x="489" y="323"/>
                    </a:lnTo>
                    <a:lnTo>
                      <a:pt x="487" y="323"/>
                    </a:lnTo>
                    <a:lnTo>
                      <a:pt x="484" y="324"/>
                    </a:lnTo>
                    <a:lnTo>
                      <a:pt x="484" y="323"/>
                    </a:lnTo>
                    <a:lnTo>
                      <a:pt x="484" y="322"/>
                    </a:lnTo>
                    <a:lnTo>
                      <a:pt x="480" y="322"/>
                    </a:lnTo>
                    <a:lnTo>
                      <a:pt x="477" y="321"/>
                    </a:lnTo>
                    <a:lnTo>
                      <a:pt x="474" y="321"/>
                    </a:lnTo>
                    <a:lnTo>
                      <a:pt x="466" y="320"/>
                    </a:lnTo>
                    <a:lnTo>
                      <a:pt x="463" y="321"/>
                    </a:lnTo>
                    <a:lnTo>
                      <a:pt x="457" y="320"/>
                    </a:lnTo>
                    <a:lnTo>
                      <a:pt x="455" y="320"/>
                    </a:lnTo>
                    <a:lnTo>
                      <a:pt x="453" y="321"/>
                    </a:lnTo>
                    <a:lnTo>
                      <a:pt x="446" y="320"/>
                    </a:lnTo>
                    <a:lnTo>
                      <a:pt x="429" y="318"/>
                    </a:lnTo>
                    <a:lnTo>
                      <a:pt x="418" y="320"/>
                    </a:lnTo>
                    <a:lnTo>
                      <a:pt x="405" y="323"/>
                    </a:lnTo>
                    <a:lnTo>
                      <a:pt x="395" y="327"/>
                    </a:lnTo>
                    <a:lnTo>
                      <a:pt x="384" y="332"/>
                    </a:lnTo>
                    <a:lnTo>
                      <a:pt x="373" y="342"/>
                    </a:lnTo>
                    <a:lnTo>
                      <a:pt x="359" y="353"/>
                    </a:lnTo>
                    <a:lnTo>
                      <a:pt x="353" y="358"/>
                    </a:lnTo>
                    <a:lnTo>
                      <a:pt x="346" y="365"/>
                    </a:lnTo>
                    <a:lnTo>
                      <a:pt x="340" y="369"/>
                    </a:lnTo>
                    <a:lnTo>
                      <a:pt x="339" y="370"/>
                    </a:lnTo>
                    <a:lnTo>
                      <a:pt x="337" y="372"/>
                    </a:lnTo>
                    <a:lnTo>
                      <a:pt x="337" y="371"/>
                    </a:lnTo>
                    <a:lnTo>
                      <a:pt x="338" y="371"/>
                    </a:lnTo>
                    <a:lnTo>
                      <a:pt x="337" y="370"/>
                    </a:lnTo>
                    <a:lnTo>
                      <a:pt x="329" y="371"/>
                    </a:lnTo>
                    <a:lnTo>
                      <a:pt x="325" y="371"/>
                    </a:lnTo>
                    <a:lnTo>
                      <a:pt x="324" y="371"/>
                    </a:lnTo>
                    <a:lnTo>
                      <a:pt x="322" y="372"/>
                    </a:lnTo>
                    <a:lnTo>
                      <a:pt x="320" y="372"/>
                    </a:lnTo>
                    <a:lnTo>
                      <a:pt x="319" y="372"/>
                    </a:lnTo>
                    <a:lnTo>
                      <a:pt x="317" y="372"/>
                    </a:lnTo>
                    <a:lnTo>
                      <a:pt x="315" y="372"/>
                    </a:lnTo>
                    <a:lnTo>
                      <a:pt x="313" y="372"/>
                    </a:lnTo>
                    <a:lnTo>
                      <a:pt x="312" y="373"/>
                    </a:lnTo>
                    <a:lnTo>
                      <a:pt x="312" y="374"/>
                    </a:lnTo>
                    <a:lnTo>
                      <a:pt x="311" y="373"/>
                    </a:lnTo>
                    <a:lnTo>
                      <a:pt x="310" y="371"/>
                    </a:lnTo>
                    <a:lnTo>
                      <a:pt x="309" y="370"/>
                    </a:lnTo>
                    <a:lnTo>
                      <a:pt x="303" y="370"/>
                    </a:lnTo>
                    <a:lnTo>
                      <a:pt x="302" y="371"/>
                    </a:lnTo>
                    <a:lnTo>
                      <a:pt x="301" y="371"/>
                    </a:lnTo>
                    <a:lnTo>
                      <a:pt x="298" y="373"/>
                    </a:lnTo>
                    <a:lnTo>
                      <a:pt x="301" y="376"/>
                    </a:lnTo>
                    <a:lnTo>
                      <a:pt x="301" y="377"/>
                    </a:lnTo>
                    <a:lnTo>
                      <a:pt x="301" y="378"/>
                    </a:lnTo>
                    <a:lnTo>
                      <a:pt x="301" y="379"/>
                    </a:lnTo>
                    <a:lnTo>
                      <a:pt x="302" y="379"/>
                    </a:lnTo>
                    <a:lnTo>
                      <a:pt x="303" y="379"/>
                    </a:lnTo>
                    <a:lnTo>
                      <a:pt x="303" y="380"/>
                    </a:lnTo>
                    <a:lnTo>
                      <a:pt x="303" y="381"/>
                    </a:lnTo>
                    <a:lnTo>
                      <a:pt x="303" y="383"/>
                    </a:lnTo>
                    <a:lnTo>
                      <a:pt x="303" y="384"/>
                    </a:lnTo>
                    <a:lnTo>
                      <a:pt x="303" y="385"/>
                    </a:lnTo>
                    <a:lnTo>
                      <a:pt x="303" y="386"/>
                    </a:lnTo>
                    <a:lnTo>
                      <a:pt x="304" y="386"/>
                    </a:lnTo>
                    <a:lnTo>
                      <a:pt x="305" y="386"/>
                    </a:lnTo>
                    <a:lnTo>
                      <a:pt x="306" y="385"/>
                    </a:lnTo>
                    <a:lnTo>
                      <a:pt x="308" y="383"/>
                    </a:lnTo>
                    <a:lnTo>
                      <a:pt x="309" y="383"/>
                    </a:lnTo>
                    <a:lnTo>
                      <a:pt x="310" y="383"/>
                    </a:lnTo>
                    <a:lnTo>
                      <a:pt x="311" y="383"/>
                    </a:lnTo>
                    <a:lnTo>
                      <a:pt x="311" y="381"/>
                    </a:lnTo>
                    <a:lnTo>
                      <a:pt x="311" y="380"/>
                    </a:lnTo>
                    <a:lnTo>
                      <a:pt x="312" y="379"/>
                    </a:lnTo>
                    <a:lnTo>
                      <a:pt x="313" y="378"/>
                    </a:lnTo>
                    <a:lnTo>
                      <a:pt x="315" y="378"/>
                    </a:lnTo>
                    <a:lnTo>
                      <a:pt x="315" y="379"/>
                    </a:lnTo>
                    <a:lnTo>
                      <a:pt x="315" y="380"/>
                    </a:lnTo>
                    <a:lnTo>
                      <a:pt x="315" y="381"/>
                    </a:lnTo>
                    <a:lnTo>
                      <a:pt x="315" y="384"/>
                    </a:lnTo>
                    <a:lnTo>
                      <a:pt x="315" y="385"/>
                    </a:lnTo>
                    <a:lnTo>
                      <a:pt x="315" y="386"/>
                    </a:lnTo>
                    <a:lnTo>
                      <a:pt x="315" y="387"/>
                    </a:lnTo>
                    <a:lnTo>
                      <a:pt x="315" y="388"/>
                    </a:lnTo>
                    <a:lnTo>
                      <a:pt x="313" y="388"/>
                    </a:lnTo>
                    <a:lnTo>
                      <a:pt x="312" y="390"/>
                    </a:lnTo>
                    <a:lnTo>
                      <a:pt x="312" y="391"/>
                    </a:lnTo>
                    <a:lnTo>
                      <a:pt x="312" y="392"/>
                    </a:lnTo>
                    <a:lnTo>
                      <a:pt x="311" y="393"/>
                    </a:lnTo>
                    <a:lnTo>
                      <a:pt x="311" y="394"/>
                    </a:lnTo>
                    <a:lnTo>
                      <a:pt x="311" y="395"/>
                    </a:lnTo>
                    <a:lnTo>
                      <a:pt x="312" y="395"/>
                    </a:lnTo>
                    <a:lnTo>
                      <a:pt x="313" y="395"/>
                    </a:lnTo>
                    <a:lnTo>
                      <a:pt x="313" y="398"/>
                    </a:lnTo>
                    <a:lnTo>
                      <a:pt x="313" y="399"/>
                    </a:lnTo>
                    <a:lnTo>
                      <a:pt x="312" y="399"/>
                    </a:lnTo>
                    <a:lnTo>
                      <a:pt x="311" y="399"/>
                    </a:lnTo>
                    <a:lnTo>
                      <a:pt x="310" y="400"/>
                    </a:lnTo>
                    <a:lnTo>
                      <a:pt x="311" y="401"/>
                    </a:lnTo>
                    <a:lnTo>
                      <a:pt x="310" y="402"/>
                    </a:lnTo>
                    <a:lnTo>
                      <a:pt x="310" y="404"/>
                    </a:lnTo>
                    <a:lnTo>
                      <a:pt x="309" y="404"/>
                    </a:lnTo>
                    <a:lnTo>
                      <a:pt x="308" y="404"/>
                    </a:lnTo>
                    <a:lnTo>
                      <a:pt x="306" y="404"/>
                    </a:lnTo>
                    <a:lnTo>
                      <a:pt x="305" y="402"/>
                    </a:lnTo>
                    <a:lnTo>
                      <a:pt x="304" y="401"/>
                    </a:lnTo>
                    <a:lnTo>
                      <a:pt x="304" y="400"/>
                    </a:lnTo>
                    <a:lnTo>
                      <a:pt x="304" y="399"/>
                    </a:lnTo>
                    <a:lnTo>
                      <a:pt x="305" y="399"/>
                    </a:lnTo>
                    <a:lnTo>
                      <a:pt x="305" y="398"/>
                    </a:lnTo>
                    <a:lnTo>
                      <a:pt x="305" y="397"/>
                    </a:lnTo>
                    <a:lnTo>
                      <a:pt x="303" y="395"/>
                    </a:lnTo>
                    <a:lnTo>
                      <a:pt x="303" y="394"/>
                    </a:lnTo>
                    <a:lnTo>
                      <a:pt x="302" y="392"/>
                    </a:lnTo>
                    <a:lnTo>
                      <a:pt x="301" y="387"/>
                    </a:lnTo>
                    <a:lnTo>
                      <a:pt x="297" y="383"/>
                    </a:lnTo>
                    <a:lnTo>
                      <a:pt x="292" y="378"/>
                    </a:lnTo>
                    <a:lnTo>
                      <a:pt x="288" y="378"/>
                    </a:lnTo>
                    <a:lnTo>
                      <a:pt x="288" y="379"/>
                    </a:lnTo>
                    <a:lnTo>
                      <a:pt x="288" y="381"/>
                    </a:lnTo>
                    <a:lnTo>
                      <a:pt x="287" y="383"/>
                    </a:lnTo>
                    <a:lnTo>
                      <a:pt x="287" y="384"/>
                    </a:lnTo>
                    <a:lnTo>
                      <a:pt x="283" y="384"/>
                    </a:lnTo>
                    <a:lnTo>
                      <a:pt x="282" y="384"/>
                    </a:lnTo>
                    <a:lnTo>
                      <a:pt x="282" y="383"/>
                    </a:lnTo>
                    <a:lnTo>
                      <a:pt x="281" y="378"/>
                    </a:lnTo>
                    <a:lnTo>
                      <a:pt x="280" y="372"/>
                    </a:lnTo>
                    <a:lnTo>
                      <a:pt x="277" y="369"/>
                    </a:lnTo>
                    <a:lnTo>
                      <a:pt x="275" y="365"/>
                    </a:lnTo>
                    <a:lnTo>
                      <a:pt x="275" y="364"/>
                    </a:lnTo>
                    <a:lnTo>
                      <a:pt x="276" y="365"/>
                    </a:lnTo>
                    <a:lnTo>
                      <a:pt x="278" y="367"/>
                    </a:lnTo>
                    <a:lnTo>
                      <a:pt x="280" y="367"/>
                    </a:lnTo>
                    <a:lnTo>
                      <a:pt x="278" y="365"/>
                    </a:lnTo>
                    <a:lnTo>
                      <a:pt x="277" y="364"/>
                    </a:lnTo>
                    <a:lnTo>
                      <a:pt x="276" y="363"/>
                    </a:lnTo>
                    <a:lnTo>
                      <a:pt x="273" y="363"/>
                    </a:lnTo>
                    <a:lnTo>
                      <a:pt x="271" y="363"/>
                    </a:lnTo>
                    <a:lnTo>
                      <a:pt x="268" y="365"/>
                    </a:lnTo>
                    <a:lnTo>
                      <a:pt x="266" y="365"/>
                    </a:lnTo>
                    <a:lnTo>
                      <a:pt x="263" y="364"/>
                    </a:lnTo>
                    <a:lnTo>
                      <a:pt x="262" y="358"/>
                    </a:lnTo>
                    <a:lnTo>
                      <a:pt x="261" y="357"/>
                    </a:lnTo>
                    <a:lnTo>
                      <a:pt x="260" y="357"/>
                    </a:lnTo>
                    <a:lnTo>
                      <a:pt x="258" y="355"/>
                    </a:lnTo>
                    <a:lnTo>
                      <a:pt x="254" y="353"/>
                    </a:lnTo>
                    <a:lnTo>
                      <a:pt x="253" y="353"/>
                    </a:lnTo>
                    <a:lnTo>
                      <a:pt x="253" y="352"/>
                    </a:lnTo>
                    <a:lnTo>
                      <a:pt x="254" y="352"/>
                    </a:lnTo>
                    <a:lnTo>
                      <a:pt x="256" y="352"/>
                    </a:lnTo>
                    <a:lnTo>
                      <a:pt x="256" y="351"/>
                    </a:lnTo>
                    <a:lnTo>
                      <a:pt x="256" y="350"/>
                    </a:lnTo>
                    <a:lnTo>
                      <a:pt x="256" y="349"/>
                    </a:lnTo>
                    <a:lnTo>
                      <a:pt x="258" y="348"/>
                    </a:lnTo>
                    <a:lnTo>
                      <a:pt x="258" y="346"/>
                    </a:lnTo>
                    <a:lnTo>
                      <a:pt x="256" y="345"/>
                    </a:lnTo>
                    <a:lnTo>
                      <a:pt x="259" y="344"/>
                    </a:lnTo>
                    <a:lnTo>
                      <a:pt x="260" y="345"/>
                    </a:lnTo>
                    <a:lnTo>
                      <a:pt x="261" y="345"/>
                    </a:lnTo>
                    <a:lnTo>
                      <a:pt x="262" y="345"/>
                    </a:lnTo>
                    <a:lnTo>
                      <a:pt x="263" y="344"/>
                    </a:lnTo>
                    <a:lnTo>
                      <a:pt x="263" y="343"/>
                    </a:lnTo>
                    <a:lnTo>
                      <a:pt x="265" y="343"/>
                    </a:lnTo>
                    <a:lnTo>
                      <a:pt x="265" y="342"/>
                    </a:lnTo>
                    <a:lnTo>
                      <a:pt x="265" y="341"/>
                    </a:lnTo>
                    <a:lnTo>
                      <a:pt x="263" y="339"/>
                    </a:lnTo>
                    <a:lnTo>
                      <a:pt x="262" y="339"/>
                    </a:lnTo>
                    <a:lnTo>
                      <a:pt x="263" y="338"/>
                    </a:lnTo>
                    <a:lnTo>
                      <a:pt x="263" y="337"/>
                    </a:lnTo>
                    <a:lnTo>
                      <a:pt x="262" y="335"/>
                    </a:lnTo>
                    <a:lnTo>
                      <a:pt x="261" y="332"/>
                    </a:lnTo>
                    <a:lnTo>
                      <a:pt x="260" y="331"/>
                    </a:lnTo>
                    <a:lnTo>
                      <a:pt x="259" y="330"/>
                    </a:lnTo>
                    <a:lnTo>
                      <a:pt x="255" y="331"/>
                    </a:lnTo>
                    <a:lnTo>
                      <a:pt x="254" y="331"/>
                    </a:lnTo>
                    <a:lnTo>
                      <a:pt x="253" y="331"/>
                    </a:lnTo>
                    <a:lnTo>
                      <a:pt x="252" y="331"/>
                    </a:lnTo>
                    <a:lnTo>
                      <a:pt x="251" y="330"/>
                    </a:lnTo>
                    <a:lnTo>
                      <a:pt x="249" y="330"/>
                    </a:lnTo>
                    <a:lnTo>
                      <a:pt x="248" y="331"/>
                    </a:lnTo>
                    <a:lnTo>
                      <a:pt x="248" y="332"/>
                    </a:lnTo>
                    <a:lnTo>
                      <a:pt x="247" y="334"/>
                    </a:lnTo>
                    <a:lnTo>
                      <a:pt x="246" y="336"/>
                    </a:lnTo>
                    <a:lnTo>
                      <a:pt x="245" y="336"/>
                    </a:lnTo>
                    <a:lnTo>
                      <a:pt x="245" y="337"/>
                    </a:lnTo>
                    <a:lnTo>
                      <a:pt x="246" y="338"/>
                    </a:lnTo>
                    <a:lnTo>
                      <a:pt x="246" y="339"/>
                    </a:lnTo>
                    <a:lnTo>
                      <a:pt x="246" y="342"/>
                    </a:lnTo>
                    <a:lnTo>
                      <a:pt x="246" y="343"/>
                    </a:lnTo>
                    <a:lnTo>
                      <a:pt x="240" y="342"/>
                    </a:lnTo>
                    <a:lnTo>
                      <a:pt x="239" y="342"/>
                    </a:lnTo>
                    <a:lnTo>
                      <a:pt x="239" y="343"/>
                    </a:lnTo>
                    <a:lnTo>
                      <a:pt x="238" y="344"/>
                    </a:lnTo>
                    <a:lnTo>
                      <a:pt x="235" y="345"/>
                    </a:lnTo>
                    <a:lnTo>
                      <a:pt x="234" y="348"/>
                    </a:lnTo>
                    <a:lnTo>
                      <a:pt x="233" y="349"/>
                    </a:lnTo>
                    <a:lnTo>
                      <a:pt x="230" y="349"/>
                    </a:lnTo>
                    <a:lnTo>
                      <a:pt x="228" y="349"/>
                    </a:lnTo>
                    <a:lnTo>
                      <a:pt x="227" y="349"/>
                    </a:lnTo>
                    <a:lnTo>
                      <a:pt x="225" y="346"/>
                    </a:lnTo>
                    <a:lnTo>
                      <a:pt x="217" y="336"/>
                    </a:lnTo>
                    <a:lnTo>
                      <a:pt x="216" y="336"/>
                    </a:lnTo>
                    <a:lnTo>
                      <a:pt x="214" y="335"/>
                    </a:lnTo>
                    <a:lnTo>
                      <a:pt x="213" y="334"/>
                    </a:lnTo>
                    <a:lnTo>
                      <a:pt x="214" y="334"/>
                    </a:lnTo>
                    <a:lnTo>
                      <a:pt x="217" y="335"/>
                    </a:lnTo>
                    <a:lnTo>
                      <a:pt x="218" y="336"/>
                    </a:lnTo>
                    <a:lnTo>
                      <a:pt x="220" y="338"/>
                    </a:lnTo>
                    <a:lnTo>
                      <a:pt x="221" y="338"/>
                    </a:lnTo>
                    <a:lnTo>
                      <a:pt x="224" y="338"/>
                    </a:lnTo>
                    <a:lnTo>
                      <a:pt x="226" y="338"/>
                    </a:lnTo>
                    <a:lnTo>
                      <a:pt x="230" y="337"/>
                    </a:lnTo>
                    <a:lnTo>
                      <a:pt x="232" y="337"/>
                    </a:lnTo>
                    <a:lnTo>
                      <a:pt x="232" y="336"/>
                    </a:lnTo>
                    <a:lnTo>
                      <a:pt x="233" y="336"/>
                    </a:lnTo>
                    <a:lnTo>
                      <a:pt x="232" y="335"/>
                    </a:lnTo>
                    <a:lnTo>
                      <a:pt x="232" y="334"/>
                    </a:lnTo>
                    <a:lnTo>
                      <a:pt x="233" y="334"/>
                    </a:lnTo>
                    <a:lnTo>
                      <a:pt x="234" y="332"/>
                    </a:lnTo>
                    <a:lnTo>
                      <a:pt x="235" y="331"/>
                    </a:lnTo>
                    <a:lnTo>
                      <a:pt x="235" y="330"/>
                    </a:lnTo>
                    <a:lnTo>
                      <a:pt x="237" y="329"/>
                    </a:lnTo>
                    <a:lnTo>
                      <a:pt x="238" y="328"/>
                    </a:lnTo>
                    <a:lnTo>
                      <a:pt x="241" y="324"/>
                    </a:lnTo>
                    <a:lnTo>
                      <a:pt x="241" y="322"/>
                    </a:lnTo>
                    <a:lnTo>
                      <a:pt x="241" y="318"/>
                    </a:lnTo>
                    <a:lnTo>
                      <a:pt x="241" y="316"/>
                    </a:lnTo>
                    <a:lnTo>
                      <a:pt x="240" y="314"/>
                    </a:lnTo>
                    <a:lnTo>
                      <a:pt x="239" y="314"/>
                    </a:lnTo>
                    <a:lnTo>
                      <a:pt x="238" y="313"/>
                    </a:lnTo>
                    <a:lnTo>
                      <a:pt x="237" y="311"/>
                    </a:lnTo>
                    <a:lnTo>
                      <a:pt x="235" y="309"/>
                    </a:lnTo>
                    <a:lnTo>
                      <a:pt x="235" y="306"/>
                    </a:lnTo>
                    <a:lnTo>
                      <a:pt x="234" y="304"/>
                    </a:lnTo>
                    <a:lnTo>
                      <a:pt x="233" y="303"/>
                    </a:lnTo>
                    <a:lnTo>
                      <a:pt x="232" y="302"/>
                    </a:lnTo>
                    <a:lnTo>
                      <a:pt x="231" y="302"/>
                    </a:lnTo>
                    <a:lnTo>
                      <a:pt x="230" y="303"/>
                    </a:lnTo>
                    <a:lnTo>
                      <a:pt x="226" y="303"/>
                    </a:lnTo>
                    <a:lnTo>
                      <a:pt x="225" y="303"/>
                    </a:lnTo>
                    <a:lnTo>
                      <a:pt x="225" y="304"/>
                    </a:lnTo>
                    <a:lnTo>
                      <a:pt x="225" y="306"/>
                    </a:lnTo>
                    <a:lnTo>
                      <a:pt x="224" y="307"/>
                    </a:lnTo>
                    <a:lnTo>
                      <a:pt x="223" y="307"/>
                    </a:lnTo>
                    <a:lnTo>
                      <a:pt x="221" y="308"/>
                    </a:lnTo>
                    <a:lnTo>
                      <a:pt x="220" y="308"/>
                    </a:lnTo>
                    <a:lnTo>
                      <a:pt x="219" y="308"/>
                    </a:lnTo>
                    <a:lnTo>
                      <a:pt x="217" y="310"/>
                    </a:lnTo>
                    <a:lnTo>
                      <a:pt x="216" y="311"/>
                    </a:lnTo>
                    <a:lnTo>
                      <a:pt x="209" y="313"/>
                    </a:lnTo>
                    <a:lnTo>
                      <a:pt x="207" y="314"/>
                    </a:lnTo>
                    <a:lnTo>
                      <a:pt x="207" y="315"/>
                    </a:lnTo>
                    <a:lnTo>
                      <a:pt x="206" y="315"/>
                    </a:lnTo>
                    <a:lnTo>
                      <a:pt x="206" y="316"/>
                    </a:lnTo>
                    <a:lnTo>
                      <a:pt x="206" y="317"/>
                    </a:lnTo>
                    <a:lnTo>
                      <a:pt x="205" y="317"/>
                    </a:lnTo>
                    <a:lnTo>
                      <a:pt x="204" y="317"/>
                    </a:lnTo>
                    <a:lnTo>
                      <a:pt x="204" y="316"/>
                    </a:lnTo>
                    <a:lnTo>
                      <a:pt x="203" y="317"/>
                    </a:lnTo>
                    <a:lnTo>
                      <a:pt x="199" y="316"/>
                    </a:lnTo>
                    <a:lnTo>
                      <a:pt x="198" y="317"/>
                    </a:lnTo>
                    <a:lnTo>
                      <a:pt x="197" y="320"/>
                    </a:lnTo>
                    <a:lnTo>
                      <a:pt x="198" y="321"/>
                    </a:lnTo>
                    <a:lnTo>
                      <a:pt x="201" y="321"/>
                    </a:lnTo>
                    <a:lnTo>
                      <a:pt x="206" y="322"/>
                    </a:lnTo>
                    <a:lnTo>
                      <a:pt x="209" y="322"/>
                    </a:lnTo>
                    <a:lnTo>
                      <a:pt x="210" y="322"/>
                    </a:lnTo>
                    <a:lnTo>
                      <a:pt x="214" y="320"/>
                    </a:lnTo>
                    <a:lnTo>
                      <a:pt x="217" y="321"/>
                    </a:lnTo>
                    <a:lnTo>
                      <a:pt x="218" y="322"/>
                    </a:lnTo>
                    <a:lnTo>
                      <a:pt x="217" y="324"/>
                    </a:lnTo>
                    <a:lnTo>
                      <a:pt x="217" y="325"/>
                    </a:lnTo>
                    <a:lnTo>
                      <a:pt x="217" y="327"/>
                    </a:lnTo>
                    <a:lnTo>
                      <a:pt x="216" y="327"/>
                    </a:lnTo>
                    <a:lnTo>
                      <a:pt x="214" y="328"/>
                    </a:lnTo>
                    <a:lnTo>
                      <a:pt x="213" y="329"/>
                    </a:lnTo>
                    <a:lnTo>
                      <a:pt x="213" y="331"/>
                    </a:lnTo>
                    <a:lnTo>
                      <a:pt x="211" y="331"/>
                    </a:lnTo>
                    <a:lnTo>
                      <a:pt x="206" y="331"/>
                    </a:lnTo>
                    <a:lnTo>
                      <a:pt x="205" y="331"/>
                    </a:lnTo>
                    <a:lnTo>
                      <a:pt x="204" y="331"/>
                    </a:lnTo>
                    <a:lnTo>
                      <a:pt x="203" y="331"/>
                    </a:lnTo>
                    <a:lnTo>
                      <a:pt x="202" y="330"/>
                    </a:lnTo>
                    <a:lnTo>
                      <a:pt x="201" y="330"/>
                    </a:lnTo>
                    <a:lnTo>
                      <a:pt x="199" y="330"/>
                    </a:lnTo>
                    <a:lnTo>
                      <a:pt x="198" y="331"/>
                    </a:lnTo>
                    <a:lnTo>
                      <a:pt x="192" y="335"/>
                    </a:lnTo>
                    <a:lnTo>
                      <a:pt x="190" y="337"/>
                    </a:lnTo>
                    <a:lnTo>
                      <a:pt x="189" y="337"/>
                    </a:lnTo>
                    <a:lnTo>
                      <a:pt x="188" y="337"/>
                    </a:lnTo>
                    <a:lnTo>
                      <a:pt x="187" y="338"/>
                    </a:lnTo>
                    <a:lnTo>
                      <a:pt x="185" y="339"/>
                    </a:lnTo>
                    <a:lnTo>
                      <a:pt x="182" y="341"/>
                    </a:lnTo>
                    <a:lnTo>
                      <a:pt x="181" y="342"/>
                    </a:lnTo>
                    <a:lnTo>
                      <a:pt x="178" y="342"/>
                    </a:lnTo>
                    <a:lnTo>
                      <a:pt x="177" y="343"/>
                    </a:lnTo>
                    <a:lnTo>
                      <a:pt x="174" y="346"/>
                    </a:lnTo>
                    <a:lnTo>
                      <a:pt x="174" y="348"/>
                    </a:lnTo>
                    <a:lnTo>
                      <a:pt x="173" y="349"/>
                    </a:lnTo>
                    <a:lnTo>
                      <a:pt x="170" y="350"/>
                    </a:lnTo>
                    <a:lnTo>
                      <a:pt x="169" y="351"/>
                    </a:lnTo>
                    <a:lnTo>
                      <a:pt x="168" y="353"/>
                    </a:lnTo>
                    <a:lnTo>
                      <a:pt x="167" y="355"/>
                    </a:lnTo>
                    <a:lnTo>
                      <a:pt x="166" y="355"/>
                    </a:lnTo>
                    <a:lnTo>
                      <a:pt x="166" y="356"/>
                    </a:lnTo>
                    <a:lnTo>
                      <a:pt x="164" y="357"/>
                    </a:lnTo>
                    <a:lnTo>
                      <a:pt x="163" y="357"/>
                    </a:lnTo>
                    <a:lnTo>
                      <a:pt x="157" y="359"/>
                    </a:lnTo>
                    <a:lnTo>
                      <a:pt x="156" y="359"/>
                    </a:lnTo>
                    <a:lnTo>
                      <a:pt x="155" y="359"/>
                    </a:lnTo>
                    <a:lnTo>
                      <a:pt x="155" y="360"/>
                    </a:lnTo>
                    <a:lnTo>
                      <a:pt x="154" y="362"/>
                    </a:lnTo>
                    <a:lnTo>
                      <a:pt x="153" y="363"/>
                    </a:lnTo>
                    <a:lnTo>
                      <a:pt x="153" y="364"/>
                    </a:lnTo>
                    <a:lnTo>
                      <a:pt x="152" y="364"/>
                    </a:lnTo>
                    <a:lnTo>
                      <a:pt x="149" y="365"/>
                    </a:lnTo>
                    <a:lnTo>
                      <a:pt x="147" y="367"/>
                    </a:lnTo>
                    <a:lnTo>
                      <a:pt x="146" y="367"/>
                    </a:lnTo>
                    <a:lnTo>
                      <a:pt x="145" y="369"/>
                    </a:lnTo>
                    <a:lnTo>
                      <a:pt x="143" y="367"/>
                    </a:lnTo>
                    <a:lnTo>
                      <a:pt x="142" y="365"/>
                    </a:lnTo>
                    <a:lnTo>
                      <a:pt x="141" y="365"/>
                    </a:lnTo>
                    <a:lnTo>
                      <a:pt x="141" y="364"/>
                    </a:lnTo>
                    <a:lnTo>
                      <a:pt x="140" y="363"/>
                    </a:lnTo>
                    <a:lnTo>
                      <a:pt x="138" y="362"/>
                    </a:lnTo>
                    <a:lnTo>
                      <a:pt x="137" y="360"/>
                    </a:lnTo>
                    <a:lnTo>
                      <a:pt x="135" y="360"/>
                    </a:lnTo>
                    <a:lnTo>
                      <a:pt x="134" y="359"/>
                    </a:lnTo>
                    <a:lnTo>
                      <a:pt x="128" y="359"/>
                    </a:lnTo>
                    <a:lnTo>
                      <a:pt x="127" y="359"/>
                    </a:lnTo>
                    <a:lnTo>
                      <a:pt x="126" y="358"/>
                    </a:lnTo>
                    <a:lnTo>
                      <a:pt x="125" y="357"/>
                    </a:lnTo>
                    <a:lnTo>
                      <a:pt x="125" y="356"/>
                    </a:lnTo>
                    <a:lnTo>
                      <a:pt x="121" y="352"/>
                    </a:lnTo>
                    <a:lnTo>
                      <a:pt x="120" y="350"/>
                    </a:lnTo>
                    <a:lnTo>
                      <a:pt x="119" y="350"/>
                    </a:lnTo>
                    <a:lnTo>
                      <a:pt x="112" y="348"/>
                    </a:lnTo>
                    <a:lnTo>
                      <a:pt x="110" y="346"/>
                    </a:lnTo>
                    <a:lnTo>
                      <a:pt x="107" y="346"/>
                    </a:lnTo>
                    <a:lnTo>
                      <a:pt x="107" y="345"/>
                    </a:lnTo>
                    <a:lnTo>
                      <a:pt x="106" y="345"/>
                    </a:lnTo>
                    <a:lnTo>
                      <a:pt x="104" y="344"/>
                    </a:lnTo>
                    <a:lnTo>
                      <a:pt x="102" y="341"/>
                    </a:lnTo>
                    <a:lnTo>
                      <a:pt x="100" y="341"/>
                    </a:lnTo>
                    <a:lnTo>
                      <a:pt x="96" y="336"/>
                    </a:lnTo>
                    <a:lnTo>
                      <a:pt x="92" y="334"/>
                    </a:lnTo>
                    <a:lnTo>
                      <a:pt x="90" y="331"/>
                    </a:lnTo>
                    <a:lnTo>
                      <a:pt x="89" y="331"/>
                    </a:lnTo>
                    <a:lnTo>
                      <a:pt x="89" y="330"/>
                    </a:lnTo>
                    <a:lnTo>
                      <a:pt x="88" y="329"/>
                    </a:lnTo>
                    <a:lnTo>
                      <a:pt x="88" y="328"/>
                    </a:lnTo>
                    <a:lnTo>
                      <a:pt x="86" y="328"/>
                    </a:lnTo>
                    <a:lnTo>
                      <a:pt x="85" y="329"/>
                    </a:lnTo>
                    <a:lnTo>
                      <a:pt x="85" y="330"/>
                    </a:lnTo>
                    <a:lnTo>
                      <a:pt x="84" y="329"/>
                    </a:lnTo>
                    <a:lnTo>
                      <a:pt x="83" y="329"/>
                    </a:lnTo>
                    <a:lnTo>
                      <a:pt x="82" y="328"/>
                    </a:lnTo>
                    <a:lnTo>
                      <a:pt x="82" y="327"/>
                    </a:lnTo>
                    <a:lnTo>
                      <a:pt x="77" y="327"/>
                    </a:lnTo>
                    <a:lnTo>
                      <a:pt x="75" y="327"/>
                    </a:lnTo>
                    <a:lnTo>
                      <a:pt x="74" y="329"/>
                    </a:lnTo>
                    <a:lnTo>
                      <a:pt x="71" y="329"/>
                    </a:lnTo>
                    <a:lnTo>
                      <a:pt x="69" y="329"/>
                    </a:lnTo>
                    <a:lnTo>
                      <a:pt x="64" y="325"/>
                    </a:lnTo>
                    <a:lnTo>
                      <a:pt x="59" y="321"/>
                    </a:lnTo>
                    <a:lnTo>
                      <a:pt x="56" y="320"/>
                    </a:lnTo>
                    <a:lnTo>
                      <a:pt x="55" y="318"/>
                    </a:lnTo>
                    <a:lnTo>
                      <a:pt x="53" y="318"/>
                    </a:lnTo>
                    <a:lnTo>
                      <a:pt x="52" y="318"/>
                    </a:lnTo>
                    <a:lnTo>
                      <a:pt x="46" y="317"/>
                    </a:lnTo>
                    <a:lnTo>
                      <a:pt x="42" y="317"/>
                    </a:lnTo>
                    <a:lnTo>
                      <a:pt x="40" y="318"/>
                    </a:lnTo>
                    <a:lnTo>
                      <a:pt x="38" y="320"/>
                    </a:lnTo>
                    <a:lnTo>
                      <a:pt x="36" y="322"/>
                    </a:lnTo>
                    <a:lnTo>
                      <a:pt x="36" y="323"/>
                    </a:lnTo>
                    <a:lnTo>
                      <a:pt x="38" y="324"/>
                    </a:lnTo>
                    <a:lnTo>
                      <a:pt x="39" y="325"/>
                    </a:lnTo>
                    <a:lnTo>
                      <a:pt x="39" y="327"/>
                    </a:lnTo>
                    <a:lnTo>
                      <a:pt x="38" y="327"/>
                    </a:lnTo>
                    <a:lnTo>
                      <a:pt x="36" y="327"/>
                    </a:lnTo>
                    <a:lnTo>
                      <a:pt x="35" y="327"/>
                    </a:lnTo>
                    <a:lnTo>
                      <a:pt x="35" y="325"/>
                    </a:lnTo>
                    <a:lnTo>
                      <a:pt x="35" y="327"/>
                    </a:lnTo>
                    <a:lnTo>
                      <a:pt x="33" y="328"/>
                    </a:lnTo>
                    <a:lnTo>
                      <a:pt x="33" y="329"/>
                    </a:lnTo>
                    <a:lnTo>
                      <a:pt x="32" y="329"/>
                    </a:lnTo>
                    <a:lnTo>
                      <a:pt x="31" y="328"/>
                    </a:lnTo>
                    <a:lnTo>
                      <a:pt x="31" y="327"/>
                    </a:lnTo>
                    <a:lnTo>
                      <a:pt x="29" y="325"/>
                    </a:lnTo>
                    <a:lnTo>
                      <a:pt x="29" y="324"/>
                    </a:lnTo>
                    <a:lnTo>
                      <a:pt x="28" y="324"/>
                    </a:lnTo>
                    <a:lnTo>
                      <a:pt x="27" y="324"/>
                    </a:lnTo>
                    <a:lnTo>
                      <a:pt x="26" y="324"/>
                    </a:lnTo>
                    <a:lnTo>
                      <a:pt x="25" y="324"/>
                    </a:lnTo>
                    <a:lnTo>
                      <a:pt x="25" y="325"/>
                    </a:lnTo>
                    <a:lnTo>
                      <a:pt x="25" y="327"/>
                    </a:lnTo>
                    <a:lnTo>
                      <a:pt x="24" y="327"/>
                    </a:lnTo>
                    <a:lnTo>
                      <a:pt x="24" y="325"/>
                    </a:lnTo>
                    <a:lnTo>
                      <a:pt x="22" y="325"/>
                    </a:lnTo>
                    <a:lnTo>
                      <a:pt x="21" y="324"/>
                    </a:lnTo>
                    <a:lnTo>
                      <a:pt x="22" y="324"/>
                    </a:lnTo>
                    <a:lnTo>
                      <a:pt x="24" y="323"/>
                    </a:lnTo>
                    <a:lnTo>
                      <a:pt x="24" y="322"/>
                    </a:lnTo>
                    <a:lnTo>
                      <a:pt x="24" y="321"/>
                    </a:lnTo>
                    <a:lnTo>
                      <a:pt x="24" y="320"/>
                    </a:lnTo>
                    <a:lnTo>
                      <a:pt x="24" y="318"/>
                    </a:lnTo>
                    <a:lnTo>
                      <a:pt x="22" y="317"/>
                    </a:lnTo>
                    <a:lnTo>
                      <a:pt x="13" y="308"/>
                    </a:lnTo>
                    <a:lnTo>
                      <a:pt x="10" y="304"/>
                    </a:lnTo>
                    <a:lnTo>
                      <a:pt x="0" y="300"/>
                    </a:lnTo>
                    <a:lnTo>
                      <a:pt x="0" y="299"/>
                    </a:lnTo>
                    <a:lnTo>
                      <a:pt x="2" y="262"/>
                    </a:lnTo>
                    <a:lnTo>
                      <a:pt x="4" y="226"/>
                    </a:lnTo>
                    <a:lnTo>
                      <a:pt x="6" y="189"/>
                    </a:lnTo>
                    <a:lnTo>
                      <a:pt x="9" y="153"/>
                    </a:lnTo>
                    <a:lnTo>
                      <a:pt x="10" y="115"/>
                    </a:lnTo>
                    <a:lnTo>
                      <a:pt x="12" y="79"/>
                    </a:lnTo>
                    <a:lnTo>
                      <a:pt x="14" y="42"/>
                    </a:lnTo>
                    <a:lnTo>
                      <a:pt x="15" y="6"/>
                    </a:lnTo>
                    <a:lnTo>
                      <a:pt x="17" y="0"/>
                    </a:lnTo>
                    <a:lnTo>
                      <a:pt x="18" y="1"/>
                    </a:lnTo>
                    <a:lnTo>
                      <a:pt x="18" y="2"/>
                    </a:lnTo>
                    <a:lnTo>
                      <a:pt x="19" y="5"/>
                    </a:lnTo>
                    <a:lnTo>
                      <a:pt x="21" y="6"/>
                    </a:lnTo>
                    <a:lnTo>
                      <a:pt x="26" y="7"/>
                    </a:lnTo>
                    <a:lnTo>
                      <a:pt x="27" y="7"/>
                    </a:lnTo>
                    <a:lnTo>
                      <a:pt x="28" y="7"/>
                    </a:lnTo>
                    <a:lnTo>
                      <a:pt x="29" y="8"/>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4" name="Freeform 25">
                <a:extLst>
                  <a:ext uri="{FF2B5EF4-FFF2-40B4-BE49-F238E27FC236}">
                    <a16:creationId xmlns:a16="http://schemas.microsoft.com/office/drawing/2014/main" id="{570EC06B-569E-4221-B74A-F2975245AB52}"/>
                  </a:ext>
                </a:extLst>
              </p:cNvPr>
              <p:cNvSpPr>
                <a:spLocks noEditPoints="1"/>
              </p:cNvSpPr>
              <p:nvPr/>
            </p:nvSpPr>
            <p:spPr bwMode="auto">
              <a:xfrm>
                <a:off x="6275388" y="2093439"/>
                <a:ext cx="1603375" cy="2413000"/>
              </a:xfrm>
              <a:custGeom>
                <a:avLst/>
                <a:gdLst>
                  <a:gd name="T0" fmla="*/ 989 w 1010"/>
                  <a:gd name="T1" fmla="*/ 1386 h 1520"/>
                  <a:gd name="T2" fmla="*/ 979 w 1010"/>
                  <a:gd name="T3" fmla="*/ 1290 h 1520"/>
                  <a:gd name="T4" fmla="*/ 892 w 1010"/>
                  <a:gd name="T5" fmla="*/ 1140 h 1520"/>
                  <a:gd name="T6" fmla="*/ 885 w 1010"/>
                  <a:gd name="T7" fmla="*/ 1132 h 1520"/>
                  <a:gd name="T8" fmla="*/ 851 w 1010"/>
                  <a:gd name="T9" fmla="*/ 1021 h 1520"/>
                  <a:gd name="T10" fmla="*/ 811 w 1010"/>
                  <a:gd name="T11" fmla="*/ 1006 h 1520"/>
                  <a:gd name="T12" fmla="*/ 771 w 1010"/>
                  <a:gd name="T13" fmla="*/ 875 h 1520"/>
                  <a:gd name="T14" fmla="*/ 761 w 1010"/>
                  <a:gd name="T15" fmla="*/ 849 h 1520"/>
                  <a:gd name="T16" fmla="*/ 629 w 1010"/>
                  <a:gd name="T17" fmla="*/ 759 h 1520"/>
                  <a:gd name="T18" fmla="*/ 595 w 1010"/>
                  <a:gd name="T19" fmla="*/ 708 h 1520"/>
                  <a:gd name="T20" fmla="*/ 127 w 1010"/>
                  <a:gd name="T21" fmla="*/ 566 h 1520"/>
                  <a:gd name="T22" fmla="*/ 131 w 1010"/>
                  <a:gd name="T23" fmla="*/ 529 h 1520"/>
                  <a:gd name="T24" fmla="*/ 101 w 1010"/>
                  <a:gd name="T25" fmla="*/ 544 h 1520"/>
                  <a:gd name="T26" fmla="*/ 368 w 1010"/>
                  <a:gd name="T27" fmla="*/ 130 h 1520"/>
                  <a:gd name="T28" fmla="*/ 390 w 1010"/>
                  <a:gd name="T29" fmla="*/ 169 h 1520"/>
                  <a:gd name="T30" fmla="*/ 405 w 1010"/>
                  <a:gd name="T31" fmla="*/ 237 h 1520"/>
                  <a:gd name="T32" fmla="*/ 430 w 1010"/>
                  <a:gd name="T33" fmla="*/ 283 h 1520"/>
                  <a:gd name="T34" fmla="*/ 446 w 1010"/>
                  <a:gd name="T35" fmla="*/ 398 h 1520"/>
                  <a:gd name="T36" fmla="*/ 500 w 1010"/>
                  <a:gd name="T37" fmla="*/ 395 h 1520"/>
                  <a:gd name="T38" fmla="*/ 543 w 1010"/>
                  <a:gd name="T39" fmla="*/ 434 h 1520"/>
                  <a:gd name="T40" fmla="*/ 542 w 1010"/>
                  <a:gd name="T41" fmla="*/ 487 h 1520"/>
                  <a:gd name="T42" fmla="*/ 555 w 1010"/>
                  <a:gd name="T43" fmla="*/ 568 h 1520"/>
                  <a:gd name="T44" fmla="*/ 581 w 1010"/>
                  <a:gd name="T45" fmla="*/ 593 h 1520"/>
                  <a:gd name="T46" fmla="*/ 584 w 1010"/>
                  <a:gd name="T47" fmla="*/ 661 h 1520"/>
                  <a:gd name="T48" fmla="*/ 592 w 1010"/>
                  <a:gd name="T49" fmla="*/ 741 h 1520"/>
                  <a:gd name="T50" fmla="*/ 645 w 1010"/>
                  <a:gd name="T51" fmla="*/ 783 h 1520"/>
                  <a:gd name="T52" fmla="*/ 696 w 1010"/>
                  <a:gd name="T53" fmla="*/ 824 h 1520"/>
                  <a:gd name="T54" fmla="*/ 730 w 1010"/>
                  <a:gd name="T55" fmla="*/ 842 h 1520"/>
                  <a:gd name="T56" fmla="*/ 754 w 1010"/>
                  <a:gd name="T57" fmla="*/ 862 h 1520"/>
                  <a:gd name="T58" fmla="*/ 740 w 1010"/>
                  <a:gd name="T59" fmla="*/ 877 h 1520"/>
                  <a:gd name="T60" fmla="*/ 762 w 1010"/>
                  <a:gd name="T61" fmla="*/ 910 h 1520"/>
                  <a:gd name="T62" fmla="*/ 776 w 1010"/>
                  <a:gd name="T63" fmla="*/ 951 h 1520"/>
                  <a:gd name="T64" fmla="*/ 787 w 1010"/>
                  <a:gd name="T65" fmla="*/ 1001 h 1520"/>
                  <a:gd name="T66" fmla="*/ 810 w 1010"/>
                  <a:gd name="T67" fmla="*/ 1016 h 1520"/>
                  <a:gd name="T68" fmla="*/ 853 w 1010"/>
                  <a:gd name="T69" fmla="*/ 1042 h 1520"/>
                  <a:gd name="T70" fmla="*/ 861 w 1010"/>
                  <a:gd name="T71" fmla="*/ 1040 h 1520"/>
                  <a:gd name="T72" fmla="*/ 860 w 1010"/>
                  <a:gd name="T73" fmla="*/ 1086 h 1520"/>
                  <a:gd name="T74" fmla="*/ 885 w 1010"/>
                  <a:gd name="T75" fmla="*/ 1135 h 1520"/>
                  <a:gd name="T76" fmla="*/ 908 w 1010"/>
                  <a:gd name="T77" fmla="*/ 1149 h 1520"/>
                  <a:gd name="T78" fmla="*/ 958 w 1010"/>
                  <a:gd name="T79" fmla="*/ 1239 h 1520"/>
                  <a:gd name="T80" fmla="*/ 979 w 1010"/>
                  <a:gd name="T81" fmla="*/ 1272 h 1520"/>
                  <a:gd name="T82" fmla="*/ 987 w 1010"/>
                  <a:gd name="T83" fmla="*/ 1309 h 1520"/>
                  <a:gd name="T84" fmla="*/ 966 w 1010"/>
                  <a:gd name="T85" fmla="*/ 1391 h 1520"/>
                  <a:gd name="T86" fmla="*/ 981 w 1010"/>
                  <a:gd name="T87" fmla="*/ 1442 h 1520"/>
                  <a:gd name="T88" fmla="*/ 946 w 1010"/>
                  <a:gd name="T89" fmla="*/ 1475 h 1520"/>
                  <a:gd name="T90" fmla="*/ 885 w 1010"/>
                  <a:gd name="T91" fmla="*/ 1479 h 1520"/>
                  <a:gd name="T92" fmla="*/ 860 w 1010"/>
                  <a:gd name="T93" fmla="*/ 1505 h 1520"/>
                  <a:gd name="T94" fmla="*/ 823 w 1010"/>
                  <a:gd name="T95" fmla="*/ 1493 h 1520"/>
                  <a:gd name="T96" fmla="*/ 738 w 1010"/>
                  <a:gd name="T97" fmla="*/ 1467 h 1520"/>
                  <a:gd name="T98" fmla="*/ 430 w 1010"/>
                  <a:gd name="T99" fmla="*/ 1462 h 1520"/>
                  <a:gd name="T100" fmla="*/ 12 w 1010"/>
                  <a:gd name="T101" fmla="*/ 854 h 1520"/>
                  <a:gd name="T102" fmla="*/ 83 w 1010"/>
                  <a:gd name="T103" fmla="*/ 556 h 1520"/>
                  <a:gd name="T104" fmla="*/ 191 w 1010"/>
                  <a:gd name="T105" fmla="*/ 617 h 1520"/>
                  <a:gd name="T106" fmla="*/ 248 w 1010"/>
                  <a:gd name="T107" fmla="*/ 550 h 1520"/>
                  <a:gd name="T108" fmla="*/ 283 w 1010"/>
                  <a:gd name="T109" fmla="*/ 440 h 1520"/>
                  <a:gd name="T110" fmla="*/ 293 w 1010"/>
                  <a:gd name="T111" fmla="*/ 305 h 1520"/>
                  <a:gd name="T112" fmla="*/ 309 w 1010"/>
                  <a:gd name="T113" fmla="*/ 256 h 1520"/>
                  <a:gd name="T114" fmla="*/ 309 w 1010"/>
                  <a:gd name="T115" fmla="*/ 249 h 1520"/>
                  <a:gd name="T116" fmla="*/ 319 w 1010"/>
                  <a:gd name="T117" fmla="*/ 204 h 1520"/>
                  <a:gd name="T118" fmla="*/ 362 w 1010"/>
                  <a:gd name="T119" fmla="*/ 120 h 1520"/>
                  <a:gd name="T120" fmla="*/ 351 w 1010"/>
                  <a:gd name="T121" fmla="*/ 103 h 1520"/>
                  <a:gd name="T122" fmla="*/ 347 w 1010"/>
                  <a:gd name="T123" fmla="*/ 71 h 1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0" h="1520">
                    <a:moveTo>
                      <a:pt x="991" y="1414"/>
                    </a:moveTo>
                    <a:lnTo>
                      <a:pt x="995" y="1415"/>
                    </a:lnTo>
                    <a:lnTo>
                      <a:pt x="994" y="1418"/>
                    </a:lnTo>
                    <a:lnTo>
                      <a:pt x="991" y="1421"/>
                    </a:lnTo>
                    <a:lnTo>
                      <a:pt x="986" y="1436"/>
                    </a:lnTo>
                    <a:lnTo>
                      <a:pt x="984" y="1436"/>
                    </a:lnTo>
                    <a:lnTo>
                      <a:pt x="983" y="1436"/>
                    </a:lnTo>
                    <a:lnTo>
                      <a:pt x="982" y="1435"/>
                    </a:lnTo>
                    <a:lnTo>
                      <a:pt x="982" y="1434"/>
                    </a:lnTo>
                    <a:lnTo>
                      <a:pt x="982" y="1433"/>
                    </a:lnTo>
                    <a:lnTo>
                      <a:pt x="982" y="1430"/>
                    </a:lnTo>
                    <a:lnTo>
                      <a:pt x="983" y="1430"/>
                    </a:lnTo>
                    <a:lnTo>
                      <a:pt x="983" y="1429"/>
                    </a:lnTo>
                    <a:lnTo>
                      <a:pt x="983" y="1428"/>
                    </a:lnTo>
                    <a:lnTo>
                      <a:pt x="983" y="1427"/>
                    </a:lnTo>
                    <a:lnTo>
                      <a:pt x="983" y="1426"/>
                    </a:lnTo>
                    <a:lnTo>
                      <a:pt x="984" y="1423"/>
                    </a:lnTo>
                    <a:lnTo>
                      <a:pt x="984" y="1422"/>
                    </a:lnTo>
                    <a:lnTo>
                      <a:pt x="984" y="1419"/>
                    </a:lnTo>
                    <a:lnTo>
                      <a:pt x="984" y="1418"/>
                    </a:lnTo>
                    <a:lnTo>
                      <a:pt x="987" y="1416"/>
                    </a:lnTo>
                    <a:lnTo>
                      <a:pt x="987" y="1415"/>
                    </a:lnTo>
                    <a:lnTo>
                      <a:pt x="988" y="1413"/>
                    </a:lnTo>
                    <a:lnTo>
                      <a:pt x="988" y="1412"/>
                    </a:lnTo>
                    <a:lnTo>
                      <a:pt x="989" y="1412"/>
                    </a:lnTo>
                    <a:lnTo>
                      <a:pt x="990" y="1413"/>
                    </a:lnTo>
                    <a:lnTo>
                      <a:pt x="990" y="1414"/>
                    </a:lnTo>
                    <a:lnTo>
                      <a:pt x="991" y="1414"/>
                    </a:lnTo>
                    <a:close/>
                    <a:moveTo>
                      <a:pt x="988" y="1409"/>
                    </a:moveTo>
                    <a:lnTo>
                      <a:pt x="987" y="1408"/>
                    </a:lnTo>
                    <a:lnTo>
                      <a:pt x="987" y="1407"/>
                    </a:lnTo>
                    <a:lnTo>
                      <a:pt x="987" y="1405"/>
                    </a:lnTo>
                    <a:lnTo>
                      <a:pt x="987" y="1402"/>
                    </a:lnTo>
                    <a:lnTo>
                      <a:pt x="986" y="1401"/>
                    </a:lnTo>
                    <a:lnTo>
                      <a:pt x="986" y="1399"/>
                    </a:lnTo>
                    <a:lnTo>
                      <a:pt x="986" y="1395"/>
                    </a:lnTo>
                    <a:lnTo>
                      <a:pt x="987" y="1391"/>
                    </a:lnTo>
                    <a:lnTo>
                      <a:pt x="987" y="1390"/>
                    </a:lnTo>
                    <a:lnTo>
                      <a:pt x="987" y="1388"/>
                    </a:lnTo>
                    <a:lnTo>
                      <a:pt x="987" y="1387"/>
                    </a:lnTo>
                    <a:lnTo>
                      <a:pt x="989" y="1386"/>
                    </a:lnTo>
                    <a:lnTo>
                      <a:pt x="991" y="1386"/>
                    </a:lnTo>
                    <a:lnTo>
                      <a:pt x="992" y="1386"/>
                    </a:lnTo>
                    <a:lnTo>
                      <a:pt x="994" y="1385"/>
                    </a:lnTo>
                    <a:lnTo>
                      <a:pt x="994" y="1386"/>
                    </a:lnTo>
                    <a:lnTo>
                      <a:pt x="994" y="1387"/>
                    </a:lnTo>
                    <a:lnTo>
                      <a:pt x="994" y="1388"/>
                    </a:lnTo>
                    <a:lnTo>
                      <a:pt x="990" y="1397"/>
                    </a:lnTo>
                    <a:lnTo>
                      <a:pt x="989" y="1400"/>
                    </a:lnTo>
                    <a:lnTo>
                      <a:pt x="988" y="1404"/>
                    </a:lnTo>
                    <a:lnTo>
                      <a:pt x="989" y="1406"/>
                    </a:lnTo>
                    <a:lnTo>
                      <a:pt x="989" y="1407"/>
                    </a:lnTo>
                    <a:lnTo>
                      <a:pt x="988" y="1408"/>
                    </a:lnTo>
                    <a:lnTo>
                      <a:pt x="988" y="1409"/>
                    </a:lnTo>
                    <a:close/>
                    <a:moveTo>
                      <a:pt x="983" y="1260"/>
                    </a:moveTo>
                    <a:lnTo>
                      <a:pt x="982" y="1260"/>
                    </a:lnTo>
                    <a:lnTo>
                      <a:pt x="981" y="1258"/>
                    </a:lnTo>
                    <a:lnTo>
                      <a:pt x="980" y="1255"/>
                    </a:lnTo>
                    <a:lnTo>
                      <a:pt x="981" y="1255"/>
                    </a:lnTo>
                    <a:lnTo>
                      <a:pt x="982" y="1258"/>
                    </a:lnTo>
                    <a:lnTo>
                      <a:pt x="983" y="1260"/>
                    </a:lnTo>
                    <a:close/>
                    <a:moveTo>
                      <a:pt x="1008" y="1220"/>
                    </a:moveTo>
                    <a:lnTo>
                      <a:pt x="1006" y="1229"/>
                    </a:lnTo>
                    <a:lnTo>
                      <a:pt x="1006" y="1230"/>
                    </a:lnTo>
                    <a:lnTo>
                      <a:pt x="1006" y="1234"/>
                    </a:lnTo>
                    <a:lnTo>
                      <a:pt x="1008" y="1236"/>
                    </a:lnTo>
                    <a:lnTo>
                      <a:pt x="1010" y="1238"/>
                    </a:lnTo>
                    <a:lnTo>
                      <a:pt x="1010" y="1239"/>
                    </a:lnTo>
                    <a:lnTo>
                      <a:pt x="1010" y="1241"/>
                    </a:lnTo>
                    <a:lnTo>
                      <a:pt x="1010" y="1243"/>
                    </a:lnTo>
                    <a:lnTo>
                      <a:pt x="1009" y="1243"/>
                    </a:lnTo>
                    <a:lnTo>
                      <a:pt x="1009" y="1244"/>
                    </a:lnTo>
                    <a:lnTo>
                      <a:pt x="1008" y="1246"/>
                    </a:lnTo>
                    <a:lnTo>
                      <a:pt x="1001" y="1258"/>
                    </a:lnTo>
                    <a:lnTo>
                      <a:pt x="991" y="1271"/>
                    </a:lnTo>
                    <a:lnTo>
                      <a:pt x="984" y="1285"/>
                    </a:lnTo>
                    <a:lnTo>
                      <a:pt x="984" y="1287"/>
                    </a:lnTo>
                    <a:lnTo>
                      <a:pt x="984" y="1289"/>
                    </a:lnTo>
                    <a:lnTo>
                      <a:pt x="984" y="1292"/>
                    </a:lnTo>
                    <a:lnTo>
                      <a:pt x="983" y="1294"/>
                    </a:lnTo>
                    <a:lnTo>
                      <a:pt x="981" y="1294"/>
                    </a:lnTo>
                    <a:lnTo>
                      <a:pt x="979" y="1290"/>
                    </a:lnTo>
                    <a:lnTo>
                      <a:pt x="979" y="1288"/>
                    </a:lnTo>
                    <a:lnTo>
                      <a:pt x="979" y="1287"/>
                    </a:lnTo>
                    <a:lnTo>
                      <a:pt x="979" y="1286"/>
                    </a:lnTo>
                    <a:lnTo>
                      <a:pt x="979" y="1282"/>
                    </a:lnTo>
                    <a:lnTo>
                      <a:pt x="979" y="1281"/>
                    </a:lnTo>
                    <a:lnTo>
                      <a:pt x="977" y="1280"/>
                    </a:lnTo>
                    <a:lnTo>
                      <a:pt x="976" y="1278"/>
                    </a:lnTo>
                    <a:lnTo>
                      <a:pt x="977" y="1275"/>
                    </a:lnTo>
                    <a:lnTo>
                      <a:pt x="977" y="1274"/>
                    </a:lnTo>
                    <a:lnTo>
                      <a:pt x="980" y="1274"/>
                    </a:lnTo>
                    <a:lnTo>
                      <a:pt x="981" y="1272"/>
                    </a:lnTo>
                    <a:lnTo>
                      <a:pt x="982" y="1267"/>
                    </a:lnTo>
                    <a:lnTo>
                      <a:pt x="983" y="1266"/>
                    </a:lnTo>
                    <a:lnTo>
                      <a:pt x="984" y="1265"/>
                    </a:lnTo>
                    <a:lnTo>
                      <a:pt x="986" y="1264"/>
                    </a:lnTo>
                    <a:lnTo>
                      <a:pt x="987" y="1262"/>
                    </a:lnTo>
                    <a:lnTo>
                      <a:pt x="987" y="1260"/>
                    </a:lnTo>
                    <a:lnTo>
                      <a:pt x="987" y="1257"/>
                    </a:lnTo>
                    <a:lnTo>
                      <a:pt x="988" y="1254"/>
                    </a:lnTo>
                    <a:lnTo>
                      <a:pt x="987" y="1253"/>
                    </a:lnTo>
                    <a:lnTo>
                      <a:pt x="986" y="1252"/>
                    </a:lnTo>
                    <a:lnTo>
                      <a:pt x="984" y="1252"/>
                    </a:lnTo>
                    <a:lnTo>
                      <a:pt x="986" y="1251"/>
                    </a:lnTo>
                    <a:lnTo>
                      <a:pt x="987" y="1250"/>
                    </a:lnTo>
                    <a:lnTo>
                      <a:pt x="995" y="1246"/>
                    </a:lnTo>
                    <a:lnTo>
                      <a:pt x="997" y="1244"/>
                    </a:lnTo>
                    <a:lnTo>
                      <a:pt x="999" y="1243"/>
                    </a:lnTo>
                    <a:lnTo>
                      <a:pt x="1001" y="1240"/>
                    </a:lnTo>
                    <a:lnTo>
                      <a:pt x="1002" y="1238"/>
                    </a:lnTo>
                    <a:lnTo>
                      <a:pt x="1003" y="1236"/>
                    </a:lnTo>
                    <a:lnTo>
                      <a:pt x="1003" y="1232"/>
                    </a:lnTo>
                    <a:lnTo>
                      <a:pt x="1002" y="1230"/>
                    </a:lnTo>
                    <a:lnTo>
                      <a:pt x="1001" y="1226"/>
                    </a:lnTo>
                    <a:lnTo>
                      <a:pt x="999" y="1224"/>
                    </a:lnTo>
                    <a:lnTo>
                      <a:pt x="997" y="1225"/>
                    </a:lnTo>
                    <a:lnTo>
                      <a:pt x="1002" y="1220"/>
                    </a:lnTo>
                    <a:lnTo>
                      <a:pt x="1004" y="1218"/>
                    </a:lnTo>
                    <a:lnTo>
                      <a:pt x="1008" y="1217"/>
                    </a:lnTo>
                    <a:lnTo>
                      <a:pt x="1008" y="1220"/>
                    </a:lnTo>
                    <a:close/>
                    <a:moveTo>
                      <a:pt x="892" y="1139"/>
                    </a:moveTo>
                    <a:lnTo>
                      <a:pt x="892" y="1140"/>
                    </a:lnTo>
                    <a:lnTo>
                      <a:pt x="890" y="1140"/>
                    </a:lnTo>
                    <a:lnTo>
                      <a:pt x="890" y="1138"/>
                    </a:lnTo>
                    <a:lnTo>
                      <a:pt x="890" y="1136"/>
                    </a:lnTo>
                    <a:lnTo>
                      <a:pt x="889" y="1134"/>
                    </a:lnTo>
                    <a:lnTo>
                      <a:pt x="889" y="1132"/>
                    </a:lnTo>
                    <a:lnTo>
                      <a:pt x="889" y="1131"/>
                    </a:lnTo>
                    <a:lnTo>
                      <a:pt x="890" y="1131"/>
                    </a:lnTo>
                    <a:lnTo>
                      <a:pt x="890" y="1133"/>
                    </a:lnTo>
                    <a:lnTo>
                      <a:pt x="890" y="1134"/>
                    </a:lnTo>
                    <a:lnTo>
                      <a:pt x="891" y="1136"/>
                    </a:lnTo>
                    <a:lnTo>
                      <a:pt x="892" y="1138"/>
                    </a:lnTo>
                    <a:lnTo>
                      <a:pt x="892" y="1139"/>
                    </a:lnTo>
                    <a:close/>
                    <a:moveTo>
                      <a:pt x="874" y="1106"/>
                    </a:moveTo>
                    <a:lnTo>
                      <a:pt x="875" y="1106"/>
                    </a:lnTo>
                    <a:lnTo>
                      <a:pt x="876" y="1106"/>
                    </a:lnTo>
                    <a:lnTo>
                      <a:pt x="876" y="1107"/>
                    </a:lnTo>
                    <a:lnTo>
                      <a:pt x="876" y="1108"/>
                    </a:lnTo>
                    <a:lnTo>
                      <a:pt x="877" y="1108"/>
                    </a:lnTo>
                    <a:lnTo>
                      <a:pt x="880" y="1110"/>
                    </a:lnTo>
                    <a:lnTo>
                      <a:pt x="881" y="1111"/>
                    </a:lnTo>
                    <a:lnTo>
                      <a:pt x="882" y="1112"/>
                    </a:lnTo>
                    <a:lnTo>
                      <a:pt x="883" y="1112"/>
                    </a:lnTo>
                    <a:lnTo>
                      <a:pt x="882" y="1113"/>
                    </a:lnTo>
                    <a:lnTo>
                      <a:pt x="883" y="1114"/>
                    </a:lnTo>
                    <a:lnTo>
                      <a:pt x="884" y="1113"/>
                    </a:lnTo>
                    <a:lnTo>
                      <a:pt x="885" y="1112"/>
                    </a:lnTo>
                    <a:lnTo>
                      <a:pt x="887" y="1111"/>
                    </a:lnTo>
                    <a:lnTo>
                      <a:pt x="885" y="1113"/>
                    </a:lnTo>
                    <a:lnTo>
                      <a:pt x="884" y="1117"/>
                    </a:lnTo>
                    <a:lnTo>
                      <a:pt x="884" y="1118"/>
                    </a:lnTo>
                    <a:lnTo>
                      <a:pt x="884" y="1119"/>
                    </a:lnTo>
                    <a:lnTo>
                      <a:pt x="884" y="1121"/>
                    </a:lnTo>
                    <a:lnTo>
                      <a:pt x="885" y="1124"/>
                    </a:lnTo>
                    <a:lnTo>
                      <a:pt x="887" y="1124"/>
                    </a:lnTo>
                    <a:lnTo>
                      <a:pt x="888" y="1125"/>
                    </a:lnTo>
                    <a:lnTo>
                      <a:pt x="888" y="1127"/>
                    </a:lnTo>
                    <a:lnTo>
                      <a:pt x="888" y="1129"/>
                    </a:lnTo>
                    <a:lnTo>
                      <a:pt x="888" y="1131"/>
                    </a:lnTo>
                    <a:lnTo>
                      <a:pt x="887" y="1131"/>
                    </a:lnTo>
                    <a:lnTo>
                      <a:pt x="887" y="1132"/>
                    </a:lnTo>
                    <a:lnTo>
                      <a:pt x="885" y="1132"/>
                    </a:lnTo>
                    <a:lnTo>
                      <a:pt x="883" y="1132"/>
                    </a:lnTo>
                    <a:lnTo>
                      <a:pt x="882" y="1132"/>
                    </a:lnTo>
                    <a:lnTo>
                      <a:pt x="881" y="1131"/>
                    </a:lnTo>
                    <a:lnTo>
                      <a:pt x="881" y="1129"/>
                    </a:lnTo>
                    <a:lnTo>
                      <a:pt x="880" y="1128"/>
                    </a:lnTo>
                    <a:lnTo>
                      <a:pt x="880" y="1127"/>
                    </a:lnTo>
                    <a:lnTo>
                      <a:pt x="878" y="1125"/>
                    </a:lnTo>
                    <a:lnTo>
                      <a:pt x="878" y="1124"/>
                    </a:lnTo>
                    <a:lnTo>
                      <a:pt x="876" y="1120"/>
                    </a:lnTo>
                    <a:lnTo>
                      <a:pt x="875" y="1118"/>
                    </a:lnTo>
                    <a:lnTo>
                      <a:pt x="874" y="1118"/>
                    </a:lnTo>
                    <a:lnTo>
                      <a:pt x="873" y="1115"/>
                    </a:lnTo>
                    <a:lnTo>
                      <a:pt x="871" y="1112"/>
                    </a:lnTo>
                    <a:lnTo>
                      <a:pt x="870" y="1110"/>
                    </a:lnTo>
                    <a:lnTo>
                      <a:pt x="869" y="1108"/>
                    </a:lnTo>
                    <a:lnTo>
                      <a:pt x="871" y="1108"/>
                    </a:lnTo>
                    <a:lnTo>
                      <a:pt x="873" y="1107"/>
                    </a:lnTo>
                    <a:lnTo>
                      <a:pt x="871" y="1106"/>
                    </a:lnTo>
                    <a:lnTo>
                      <a:pt x="873" y="1106"/>
                    </a:lnTo>
                    <a:lnTo>
                      <a:pt x="874" y="1106"/>
                    </a:lnTo>
                    <a:close/>
                    <a:moveTo>
                      <a:pt x="796" y="1021"/>
                    </a:moveTo>
                    <a:lnTo>
                      <a:pt x="796" y="1022"/>
                    </a:lnTo>
                    <a:lnTo>
                      <a:pt x="795" y="1021"/>
                    </a:lnTo>
                    <a:lnTo>
                      <a:pt x="795" y="1020"/>
                    </a:lnTo>
                    <a:lnTo>
                      <a:pt x="796" y="1020"/>
                    </a:lnTo>
                    <a:lnTo>
                      <a:pt x="796" y="1019"/>
                    </a:lnTo>
                    <a:lnTo>
                      <a:pt x="795" y="1017"/>
                    </a:lnTo>
                    <a:lnTo>
                      <a:pt x="796" y="1017"/>
                    </a:lnTo>
                    <a:lnTo>
                      <a:pt x="796" y="1015"/>
                    </a:lnTo>
                    <a:lnTo>
                      <a:pt x="797" y="1015"/>
                    </a:lnTo>
                    <a:lnTo>
                      <a:pt x="798" y="1015"/>
                    </a:lnTo>
                    <a:lnTo>
                      <a:pt x="799" y="1017"/>
                    </a:lnTo>
                    <a:lnTo>
                      <a:pt x="798" y="1017"/>
                    </a:lnTo>
                    <a:lnTo>
                      <a:pt x="798" y="1019"/>
                    </a:lnTo>
                    <a:lnTo>
                      <a:pt x="798" y="1020"/>
                    </a:lnTo>
                    <a:lnTo>
                      <a:pt x="796" y="1021"/>
                    </a:lnTo>
                    <a:close/>
                    <a:moveTo>
                      <a:pt x="853" y="1019"/>
                    </a:moveTo>
                    <a:lnTo>
                      <a:pt x="853" y="1020"/>
                    </a:lnTo>
                    <a:lnTo>
                      <a:pt x="852" y="1020"/>
                    </a:lnTo>
                    <a:lnTo>
                      <a:pt x="851" y="1020"/>
                    </a:lnTo>
                    <a:lnTo>
                      <a:pt x="851" y="1021"/>
                    </a:lnTo>
                    <a:lnTo>
                      <a:pt x="849" y="1022"/>
                    </a:lnTo>
                    <a:lnTo>
                      <a:pt x="848" y="1022"/>
                    </a:lnTo>
                    <a:lnTo>
                      <a:pt x="847" y="1022"/>
                    </a:lnTo>
                    <a:lnTo>
                      <a:pt x="847" y="1021"/>
                    </a:lnTo>
                    <a:lnTo>
                      <a:pt x="848" y="1020"/>
                    </a:lnTo>
                    <a:lnTo>
                      <a:pt x="847" y="1019"/>
                    </a:lnTo>
                    <a:lnTo>
                      <a:pt x="846" y="1019"/>
                    </a:lnTo>
                    <a:lnTo>
                      <a:pt x="846" y="1017"/>
                    </a:lnTo>
                    <a:lnTo>
                      <a:pt x="848" y="1016"/>
                    </a:lnTo>
                    <a:lnTo>
                      <a:pt x="848" y="1015"/>
                    </a:lnTo>
                    <a:lnTo>
                      <a:pt x="848" y="1014"/>
                    </a:lnTo>
                    <a:lnTo>
                      <a:pt x="848" y="1013"/>
                    </a:lnTo>
                    <a:lnTo>
                      <a:pt x="849" y="1013"/>
                    </a:lnTo>
                    <a:lnTo>
                      <a:pt x="851" y="1013"/>
                    </a:lnTo>
                    <a:lnTo>
                      <a:pt x="851" y="1014"/>
                    </a:lnTo>
                    <a:lnTo>
                      <a:pt x="851" y="1015"/>
                    </a:lnTo>
                    <a:lnTo>
                      <a:pt x="851" y="1016"/>
                    </a:lnTo>
                    <a:lnTo>
                      <a:pt x="851" y="1017"/>
                    </a:lnTo>
                    <a:lnTo>
                      <a:pt x="852" y="1017"/>
                    </a:lnTo>
                    <a:lnTo>
                      <a:pt x="853" y="1017"/>
                    </a:lnTo>
                    <a:lnTo>
                      <a:pt x="853" y="1019"/>
                    </a:lnTo>
                    <a:close/>
                    <a:moveTo>
                      <a:pt x="810" y="1007"/>
                    </a:moveTo>
                    <a:lnTo>
                      <a:pt x="809" y="1008"/>
                    </a:lnTo>
                    <a:lnTo>
                      <a:pt x="807" y="1007"/>
                    </a:lnTo>
                    <a:lnTo>
                      <a:pt x="809" y="1006"/>
                    </a:lnTo>
                    <a:lnTo>
                      <a:pt x="809" y="1005"/>
                    </a:lnTo>
                    <a:lnTo>
                      <a:pt x="807" y="1005"/>
                    </a:lnTo>
                    <a:lnTo>
                      <a:pt x="807" y="1003"/>
                    </a:lnTo>
                    <a:lnTo>
                      <a:pt x="807" y="1002"/>
                    </a:lnTo>
                    <a:lnTo>
                      <a:pt x="809" y="1000"/>
                    </a:lnTo>
                    <a:lnTo>
                      <a:pt x="809" y="999"/>
                    </a:lnTo>
                    <a:lnTo>
                      <a:pt x="810" y="998"/>
                    </a:lnTo>
                    <a:lnTo>
                      <a:pt x="810" y="996"/>
                    </a:lnTo>
                    <a:lnTo>
                      <a:pt x="811" y="995"/>
                    </a:lnTo>
                    <a:lnTo>
                      <a:pt x="812" y="995"/>
                    </a:lnTo>
                    <a:lnTo>
                      <a:pt x="811" y="998"/>
                    </a:lnTo>
                    <a:lnTo>
                      <a:pt x="811" y="999"/>
                    </a:lnTo>
                    <a:lnTo>
                      <a:pt x="812" y="1001"/>
                    </a:lnTo>
                    <a:lnTo>
                      <a:pt x="812" y="1002"/>
                    </a:lnTo>
                    <a:lnTo>
                      <a:pt x="812" y="1003"/>
                    </a:lnTo>
                    <a:lnTo>
                      <a:pt x="811" y="1006"/>
                    </a:lnTo>
                    <a:lnTo>
                      <a:pt x="810" y="1007"/>
                    </a:lnTo>
                    <a:close/>
                    <a:moveTo>
                      <a:pt x="845" y="977"/>
                    </a:moveTo>
                    <a:lnTo>
                      <a:pt x="845" y="978"/>
                    </a:lnTo>
                    <a:lnTo>
                      <a:pt x="844" y="979"/>
                    </a:lnTo>
                    <a:lnTo>
                      <a:pt x="842" y="979"/>
                    </a:lnTo>
                    <a:lnTo>
                      <a:pt x="840" y="977"/>
                    </a:lnTo>
                    <a:lnTo>
                      <a:pt x="841" y="977"/>
                    </a:lnTo>
                    <a:lnTo>
                      <a:pt x="842" y="977"/>
                    </a:lnTo>
                    <a:lnTo>
                      <a:pt x="844" y="977"/>
                    </a:lnTo>
                    <a:lnTo>
                      <a:pt x="845" y="977"/>
                    </a:lnTo>
                    <a:close/>
                    <a:moveTo>
                      <a:pt x="841" y="971"/>
                    </a:moveTo>
                    <a:lnTo>
                      <a:pt x="841" y="972"/>
                    </a:lnTo>
                    <a:lnTo>
                      <a:pt x="840" y="972"/>
                    </a:lnTo>
                    <a:lnTo>
                      <a:pt x="839" y="972"/>
                    </a:lnTo>
                    <a:lnTo>
                      <a:pt x="839" y="971"/>
                    </a:lnTo>
                    <a:lnTo>
                      <a:pt x="838" y="971"/>
                    </a:lnTo>
                    <a:lnTo>
                      <a:pt x="838" y="972"/>
                    </a:lnTo>
                    <a:lnTo>
                      <a:pt x="838" y="971"/>
                    </a:lnTo>
                    <a:lnTo>
                      <a:pt x="838" y="970"/>
                    </a:lnTo>
                    <a:lnTo>
                      <a:pt x="838" y="968"/>
                    </a:lnTo>
                    <a:lnTo>
                      <a:pt x="838" y="967"/>
                    </a:lnTo>
                    <a:lnTo>
                      <a:pt x="839" y="967"/>
                    </a:lnTo>
                    <a:lnTo>
                      <a:pt x="839" y="968"/>
                    </a:lnTo>
                    <a:lnTo>
                      <a:pt x="840" y="970"/>
                    </a:lnTo>
                    <a:lnTo>
                      <a:pt x="841" y="971"/>
                    </a:lnTo>
                    <a:close/>
                    <a:moveTo>
                      <a:pt x="770" y="875"/>
                    </a:moveTo>
                    <a:lnTo>
                      <a:pt x="769" y="876"/>
                    </a:lnTo>
                    <a:lnTo>
                      <a:pt x="769" y="877"/>
                    </a:lnTo>
                    <a:lnTo>
                      <a:pt x="767" y="879"/>
                    </a:lnTo>
                    <a:lnTo>
                      <a:pt x="767" y="877"/>
                    </a:lnTo>
                    <a:lnTo>
                      <a:pt x="767" y="876"/>
                    </a:lnTo>
                    <a:lnTo>
                      <a:pt x="768" y="876"/>
                    </a:lnTo>
                    <a:lnTo>
                      <a:pt x="769" y="876"/>
                    </a:lnTo>
                    <a:lnTo>
                      <a:pt x="769" y="874"/>
                    </a:lnTo>
                    <a:lnTo>
                      <a:pt x="770" y="873"/>
                    </a:lnTo>
                    <a:lnTo>
                      <a:pt x="770" y="872"/>
                    </a:lnTo>
                    <a:lnTo>
                      <a:pt x="771" y="870"/>
                    </a:lnTo>
                    <a:lnTo>
                      <a:pt x="770" y="873"/>
                    </a:lnTo>
                    <a:lnTo>
                      <a:pt x="771" y="873"/>
                    </a:lnTo>
                    <a:lnTo>
                      <a:pt x="771" y="874"/>
                    </a:lnTo>
                    <a:lnTo>
                      <a:pt x="771" y="875"/>
                    </a:lnTo>
                    <a:lnTo>
                      <a:pt x="770" y="875"/>
                    </a:lnTo>
                    <a:close/>
                    <a:moveTo>
                      <a:pt x="769" y="860"/>
                    </a:moveTo>
                    <a:lnTo>
                      <a:pt x="770" y="861"/>
                    </a:lnTo>
                    <a:lnTo>
                      <a:pt x="770" y="862"/>
                    </a:lnTo>
                    <a:lnTo>
                      <a:pt x="770" y="863"/>
                    </a:lnTo>
                    <a:lnTo>
                      <a:pt x="769" y="862"/>
                    </a:lnTo>
                    <a:lnTo>
                      <a:pt x="768" y="861"/>
                    </a:lnTo>
                    <a:lnTo>
                      <a:pt x="767" y="863"/>
                    </a:lnTo>
                    <a:lnTo>
                      <a:pt x="766" y="862"/>
                    </a:lnTo>
                    <a:lnTo>
                      <a:pt x="764" y="862"/>
                    </a:lnTo>
                    <a:lnTo>
                      <a:pt x="764" y="863"/>
                    </a:lnTo>
                    <a:lnTo>
                      <a:pt x="763" y="862"/>
                    </a:lnTo>
                    <a:lnTo>
                      <a:pt x="763" y="860"/>
                    </a:lnTo>
                    <a:lnTo>
                      <a:pt x="762" y="860"/>
                    </a:lnTo>
                    <a:lnTo>
                      <a:pt x="761" y="860"/>
                    </a:lnTo>
                    <a:lnTo>
                      <a:pt x="761" y="859"/>
                    </a:lnTo>
                    <a:lnTo>
                      <a:pt x="763" y="858"/>
                    </a:lnTo>
                    <a:lnTo>
                      <a:pt x="764" y="856"/>
                    </a:lnTo>
                    <a:lnTo>
                      <a:pt x="762" y="856"/>
                    </a:lnTo>
                    <a:lnTo>
                      <a:pt x="763" y="854"/>
                    </a:lnTo>
                    <a:lnTo>
                      <a:pt x="764" y="853"/>
                    </a:lnTo>
                    <a:lnTo>
                      <a:pt x="764" y="852"/>
                    </a:lnTo>
                    <a:lnTo>
                      <a:pt x="766" y="851"/>
                    </a:lnTo>
                    <a:lnTo>
                      <a:pt x="766" y="852"/>
                    </a:lnTo>
                    <a:lnTo>
                      <a:pt x="767" y="853"/>
                    </a:lnTo>
                    <a:lnTo>
                      <a:pt x="767" y="854"/>
                    </a:lnTo>
                    <a:lnTo>
                      <a:pt x="767" y="856"/>
                    </a:lnTo>
                    <a:lnTo>
                      <a:pt x="768" y="858"/>
                    </a:lnTo>
                    <a:lnTo>
                      <a:pt x="769" y="860"/>
                    </a:lnTo>
                    <a:close/>
                    <a:moveTo>
                      <a:pt x="767" y="844"/>
                    </a:moveTo>
                    <a:lnTo>
                      <a:pt x="766" y="845"/>
                    </a:lnTo>
                    <a:lnTo>
                      <a:pt x="764" y="846"/>
                    </a:lnTo>
                    <a:lnTo>
                      <a:pt x="763" y="847"/>
                    </a:lnTo>
                    <a:lnTo>
                      <a:pt x="763" y="848"/>
                    </a:lnTo>
                    <a:lnTo>
                      <a:pt x="764" y="849"/>
                    </a:lnTo>
                    <a:lnTo>
                      <a:pt x="763" y="851"/>
                    </a:lnTo>
                    <a:lnTo>
                      <a:pt x="761" y="852"/>
                    </a:lnTo>
                    <a:lnTo>
                      <a:pt x="762" y="851"/>
                    </a:lnTo>
                    <a:lnTo>
                      <a:pt x="762" y="849"/>
                    </a:lnTo>
                    <a:lnTo>
                      <a:pt x="761" y="851"/>
                    </a:lnTo>
                    <a:lnTo>
                      <a:pt x="761" y="849"/>
                    </a:lnTo>
                    <a:lnTo>
                      <a:pt x="760" y="851"/>
                    </a:lnTo>
                    <a:lnTo>
                      <a:pt x="759" y="849"/>
                    </a:lnTo>
                    <a:lnTo>
                      <a:pt x="759" y="848"/>
                    </a:lnTo>
                    <a:lnTo>
                      <a:pt x="760" y="847"/>
                    </a:lnTo>
                    <a:lnTo>
                      <a:pt x="762" y="846"/>
                    </a:lnTo>
                    <a:lnTo>
                      <a:pt x="761" y="845"/>
                    </a:lnTo>
                    <a:lnTo>
                      <a:pt x="761" y="844"/>
                    </a:lnTo>
                    <a:lnTo>
                      <a:pt x="762" y="844"/>
                    </a:lnTo>
                    <a:lnTo>
                      <a:pt x="763" y="844"/>
                    </a:lnTo>
                    <a:lnTo>
                      <a:pt x="764" y="844"/>
                    </a:lnTo>
                    <a:lnTo>
                      <a:pt x="766" y="842"/>
                    </a:lnTo>
                    <a:lnTo>
                      <a:pt x="767" y="844"/>
                    </a:lnTo>
                    <a:close/>
                    <a:moveTo>
                      <a:pt x="732" y="838"/>
                    </a:moveTo>
                    <a:lnTo>
                      <a:pt x="732" y="839"/>
                    </a:lnTo>
                    <a:lnTo>
                      <a:pt x="731" y="839"/>
                    </a:lnTo>
                    <a:lnTo>
                      <a:pt x="731" y="838"/>
                    </a:lnTo>
                    <a:lnTo>
                      <a:pt x="731" y="835"/>
                    </a:lnTo>
                    <a:lnTo>
                      <a:pt x="731" y="834"/>
                    </a:lnTo>
                    <a:lnTo>
                      <a:pt x="731" y="833"/>
                    </a:lnTo>
                    <a:lnTo>
                      <a:pt x="732" y="834"/>
                    </a:lnTo>
                    <a:lnTo>
                      <a:pt x="733" y="835"/>
                    </a:lnTo>
                    <a:lnTo>
                      <a:pt x="732" y="838"/>
                    </a:lnTo>
                    <a:close/>
                    <a:moveTo>
                      <a:pt x="629" y="759"/>
                    </a:moveTo>
                    <a:lnTo>
                      <a:pt x="629" y="760"/>
                    </a:lnTo>
                    <a:lnTo>
                      <a:pt x="629" y="761"/>
                    </a:lnTo>
                    <a:lnTo>
                      <a:pt x="628" y="762"/>
                    </a:lnTo>
                    <a:lnTo>
                      <a:pt x="628" y="763"/>
                    </a:lnTo>
                    <a:lnTo>
                      <a:pt x="628" y="762"/>
                    </a:lnTo>
                    <a:lnTo>
                      <a:pt x="625" y="763"/>
                    </a:lnTo>
                    <a:lnTo>
                      <a:pt x="624" y="762"/>
                    </a:lnTo>
                    <a:lnTo>
                      <a:pt x="624" y="761"/>
                    </a:lnTo>
                    <a:lnTo>
                      <a:pt x="622" y="761"/>
                    </a:lnTo>
                    <a:lnTo>
                      <a:pt x="622" y="760"/>
                    </a:lnTo>
                    <a:lnTo>
                      <a:pt x="624" y="760"/>
                    </a:lnTo>
                    <a:lnTo>
                      <a:pt x="624" y="759"/>
                    </a:lnTo>
                    <a:lnTo>
                      <a:pt x="625" y="759"/>
                    </a:lnTo>
                    <a:lnTo>
                      <a:pt x="626" y="759"/>
                    </a:lnTo>
                    <a:lnTo>
                      <a:pt x="627" y="759"/>
                    </a:lnTo>
                    <a:lnTo>
                      <a:pt x="628" y="760"/>
                    </a:lnTo>
                    <a:lnTo>
                      <a:pt x="628" y="759"/>
                    </a:lnTo>
                    <a:lnTo>
                      <a:pt x="629" y="759"/>
                    </a:lnTo>
                    <a:close/>
                    <a:moveTo>
                      <a:pt x="615" y="729"/>
                    </a:moveTo>
                    <a:lnTo>
                      <a:pt x="617" y="731"/>
                    </a:lnTo>
                    <a:lnTo>
                      <a:pt x="619" y="731"/>
                    </a:lnTo>
                    <a:lnTo>
                      <a:pt x="619" y="732"/>
                    </a:lnTo>
                    <a:lnTo>
                      <a:pt x="618" y="732"/>
                    </a:lnTo>
                    <a:lnTo>
                      <a:pt x="618" y="733"/>
                    </a:lnTo>
                    <a:lnTo>
                      <a:pt x="617" y="733"/>
                    </a:lnTo>
                    <a:lnTo>
                      <a:pt x="615" y="732"/>
                    </a:lnTo>
                    <a:lnTo>
                      <a:pt x="614" y="732"/>
                    </a:lnTo>
                    <a:lnTo>
                      <a:pt x="613" y="732"/>
                    </a:lnTo>
                    <a:lnTo>
                      <a:pt x="612" y="732"/>
                    </a:lnTo>
                    <a:lnTo>
                      <a:pt x="611" y="732"/>
                    </a:lnTo>
                    <a:lnTo>
                      <a:pt x="611" y="731"/>
                    </a:lnTo>
                    <a:lnTo>
                      <a:pt x="612" y="728"/>
                    </a:lnTo>
                    <a:lnTo>
                      <a:pt x="612" y="727"/>
                    </a:lnTo>
                    <a:lnTo>
                      <a:pt x="612" y="726"/>
                    </a:lnTo>
                    <a:lnTo>
                      <a:pt x="613" y="726"/>
                    </a:lnTo>
                    <a:lnTo>
                      <a:pt x="613" y="727"/>
                    </a:lnTo>
                    <a:lnTo>
                      <a:pt x="614" y="727"/>
                    </a:lnTo>
                    <a:lnTo>
                      <a:pt x="614" y="728"/>
                    </a:lnTo>
                    <a:lnTo>
                      <a:pt x="615" y="729"/>
                    </a:lnTo>
                    <a:close/>
                    <a:moveTo>
                      <a:pt x="591" y="690"/>
                    </a:moveTo>
                    <a:lnTo>
                      <a:pt x="592" y="691"/>
                    </a:lnTo>
                    <a:lnTo>
                      <a:pt x="596" y="691"/>
                    </a:lnTo>
                    <a:lnTo>
                      <a:pt x="596" y="692"/>
                    </a:lnTo>
                    <a:lnTo>
                      <a:pt x="595" y="693"/>
                    </a:lnTo>
                    <a:lnTo>
                      <a:pt x="595" y="694"/>
                    </a:lnTo>
                    <a:lnTo>
                      <a:pt x="593" y="697"/>
                    </a:lnTo>
                    <a:lnTo>
                      <a:pt x="595" y="698"/>
                    </a:lnTo>
                    <a:lnTo>
                      <a:pt x="596" y="700"/>
                    </a:lnTo>
                    <a:lnTo>
                      <a:pt x="598" y="700"/>
                    </a:lnTo>
                    <a:lnTo>
                      <a:pt x="598" y="701"/>
                    </a:lnTo>
                    <a:lnTo>
                      <a:pt x="597" y="703"/>
                    </a:lnTo>
                    <a:lnTo>
                      <a:pt x="596" y="703"/>
                    </a:lnTo>
                    <a:lnTo>
                      <a:pt x="597" y="703"/>
                    </a:lnTo>
                    <a:lnTo>
                      <a:pt x="598" y="704"/>
                    </a:lnTo>
                    <a:lnTo>
                      <a:pt x="598" y="705"/>
                    </a:lnTo>
                    <a:lnTo>
                      <a:pt x="597" y="705"/>
                    </a:lnTo>
                    <a:lnTo>
                      <a:pt x="597" y="706"/>
                    </a:lnTo>
                    <a:lnTo>
                      <a:pt x="596" y="708"/>
                    </a:lnTo>
                    <a:lnTo>
                      <a:pt x="595" y="708"/>
                    </a:lnTo>
                    <a:lnTo>
                      <a:pt x="593" y="710"/>
                    </a:lnTo>
                    <a:lnTo>
                      <a:pt x="592" y="710"/>
                    </a:lnTo>
                    <a:lnTo>
                      <a:pt x="590" y="708"/>
                    </a:lnTo>
                    <a:lnTo>
                      <a:pt x="589" y="707"/>
                    </a:lnTo>
                    <a:lnTo>
                      <a:pt x="589" y="706"/>
                    </a:lnTo>
                    <a:lnTo>
                      <a:pt x="589" y="701"/>
                    </a:lnTo>
                    <a:lnTo>
                      <a:pt x="588" y="700"/>
                    </a:lnTo>
                    <a:lnTo>
                      <a:pt x="586" y="698"/>
                    </a:lnTo>
                    <a:lnTo>
                      <a:pt x="585" y="697"/>
                    </a:lnTo>
                    <a:lnTo>
                      <a:pt x="583" y="694"/>
                    </a:lnTo>
                    <a:lnTo>
                      <a:pt x="582" y="693"/>
                    </a:lnTo>
                    <a:lnTo>
                      <a:pt x="582" y="692"/>
                    </a:lnTo>
                    <a:lnTo>
                      <a:pt x="582" y="691"/>
                    </a:lnTo>
                    <a:lnTo>
                      <a:pt x="584" y="691"/>
                    </a:lnTo>
                    <a:lnTo>
                      <a:pt x="588" y="692"/>
                    </a:lnTo>
                    <a:lnTo>
                      <a:pt x="590" y="693"/>
                    </a:lnTo>
                    <a:lnTo>
                      <a:pt x="591" y="692"/>
                    </a:lnTo>
                    <a:lnTo>
                      <a:pt x="590" y="690"/>
                    </a:lnTo>
                    <a:lnTo>
                      <a:pt x="591" y="687"/>
                    </a:lnTo>
                    <a:lnTo>
                      <a:pt x="591" y="690"/>
                    </a:lnTo>
                    <a:close/>
                    <a:moveTo>
                      <a:pt x="131" y="574"/>
                    </a:moveTo>
                    <a:lnTo>
                      <a:pt x="130" y="575"/>
                    </a:lnTo>
                    <a:lnTo>
                      <a:pt x="128" y="575"/>
                    </a:lnTo>
                    <a:lnTo>
                      <a:pt x="127" y="575"/>
                    </a:lnTo>
                    <a:lnTo>
                      <a:pt x="126" y="575"/>
                    </a:lnTo>
                    <a:lnTo>
                      <a:pt x="124" y="575"/>
                    </a:lnTo>
                    <a:lnTo>
                      <a:pt x="124" y="574"/>
                    </a:lnTo>
                    <a:lnTo>
                      <a:pt x="123" y="574"/>
                    </a:lnTo>
                    <a:lnTo>
                      <a:pt x="122" y="574"/>
                    </a:lnTo>
                    <a:lnTo>
                      <a:pt x="121" y="575"/>
                    </a:lnTo>
                    <a:lnTo>
                      <a:pt x="121" y="578"/>
                    </a:lnTo>
                    <a:lnTo>
                      <a:pt x="121" y="577"/>
                    </a:lnTo>
                    <a:lnTo>
                      <a:pt x="120" y="577"/>
                    </a:lnTo>
                    <a:lnTo>
                      <a:pt x="119" y="574"/>
                    </a:lnTo>
                    <a:lnTo>
                      <a:pt x="120" y="573"/>
                    </a:lnTo>
                    <a:lnTo>
                      <a:pt x="121" y="573"/>
                    </a:lnTo>
                    <a:lnTo>
                      <a:pt x="122" y="572"/>
                    </a:lnTo>
                    <a:lnTo>
                      <a:pt x="124" y="568"/>
                    </a:lnTo>
                    <a:lnTo>
                      <a:pt x="126" y="567"/>
                    </a:lnTo>
                    <a:lnTo>
                      <a:pt x="126" y="566"/>
                    </a:lnTo>
                    <a:lnTo>
                      <a:pt x="127" y="566"/>
                    </a:lnTo>
                    <a:lnTo>
                      <a:pt x="129" y="568"/>
                    </a:lnTo>
                    <a:lnTo>
                      <a:pt x="130" y="570"/>
                    </a:lnTo>
                    <a:lnTo>
                      <a:pt x="130" y="571"/>
                    </a:lnTo>
                    <a:lnTo>
                      <a:pt x="130" y="572"/>
                    </a:lnTo>
                    <a:lnTo>
                      <a:pt x="131" y="573"/>
                    </a:lnTo>
                    <a:lnTo>
                      <a:pt x="131" y="574"/>
                    </a:lnTo>
                    <a:close/>
                    <a:moveTo>
                      <a:pt x="100" y="556"/>
                    </a:moveTo>
                    <a:lnTo>
                      <a:pt x="99" y="556"/>
                    </a:lnTo>
                    <a:lnTo>
                      <a:pt x="99" y="554"/>
                    </a:lnTo>
                    <a:lnTo>
                      <a:pt x="99" y="553"/>
                    </a:lnTo>
                    <a:lnTo>
                      <a:pt x="98" y="553"/>
                    </a:lnTo>
                    <a:lnTo>
                      <a:pt x="99" y="552"/>
                    </a:lnTo>
                    <a:lnTo>
                      <a:pt x="101" y="552"/>
                    </a:lnTo>
                    <a:lnTo>
                      <a:pt x="102" y="552"/>
                    </a:lnTo>
                    <a:lnTo>
                      <a:pt x="102" y="553"/>
                    </a:lnTo>
                    <a:lnTo>
                      <a:pt x="100" y="553"/>
                    </a:lnTo>
                    <a:lnTo>
                      <a:pt x="100" y="554"/>
                    </a:lnTo>
                    <a:lnTo>
                      <a:pt x="100" y="556"/>
                    </a:lnTo>
                    <a:close/>
                    <a:moveTo>
                      <a:pt x="142" y="526"/>
                    </a:moveTo>
                    <a:lnTo>
                      <a:pt x="142" y="528"/>
                    </a:lnTo>
                    <a:lnTo>
                      <a:pt x="143" y="529"/>
                    </a:lnTo>
                    <a:lnTo>
                      <a:pt x="143" y="528"/>
                    </a:lnTo>
                    <a:lnTo>
                      <a:pt x="144" y="526"/>
                    </a:lnTo>
                    <a:lnTo>
                      <a:pt x="145" y="528"/>
                    </a:lnTo>
                    <a:lnTo>
                      <a:pt x="145" y="529"/>
                    </a:lnTo>
                    <a:lnTo>
                      <a:pt x="144" y="530"/>
                    </a:lnTo>
                    <a:lnTo>
                      <a:pt x="144" y="531"/>
                    </a:lnTo>
                    <a:lnTo>
                      <a:pt x="144" y="530"/>
                    </a:lnTo>
                    <a:lnTo>
                      <a:pt x="143" y="530"/>
                    </a:lnTo>
                    <a:lnTo>
                      <a:pt x="143" y="531"/>
                    </a:lnTo>
                    <a:lnTo>
                      <a:pt x="143" y="532"/>
                    </a:lnTo>
                    <a:lnTo>
                      <a:pt x="142" y="532"/>
                    </a:lnTo>
                    <a:lnTo>
                      <a:pt x="141" y="532"/>
                    </a:lnTo>
                    <a:lnTo>
                      <a:pt x="138" y="532"/>
                    </a:lnTo>
                    <a:lnTo>
                      <a:pt x="137" y="532"/>
                    </a:lnTo>
                    <a:lnTo>
                      <a:pt x="136" y="533"/>
                    </a:lnTo>
                    <a:lnTo>
                      <a:pt x="136" y="535"/>
                    </a:lnTo>
                    <a:lnTo>
                      <a:pt x="135" y="533"/>
                    </a:lnTo>
                    <a:lnTo>
                      <a:pt x="134" y="531"/>
                    </a:lnTo>
                    <a:lnTo>
                      <a:pt x="133" y="530"/>
                    </a:lnTo>
                    <a:lnTo>
                      <a:pt x="131" y="529"/>
                    </a:lnTo>
                    <a:lnTo>
                      <a:pt x="131" y="530"/>
                    </a:lnTo>
                    <a:lnTo>
                      <a:pt x="130" y="531"/>
                    </a:lnTo>
                    <a:lnTo>
                      <a:pt x="129" y="531"/>
                    </a:lnTo>
                    <a:lnTo>
                      <a:pt x="128" y="531"/>
                    </a:lnTo>
                    <a:lnTo>
                      <a:pt x="127" y="531"/>
                    </a:lnTo>
                    <a:lnTo>
                      <a:pt x="127" y="532"/>
                    </a:lnTo>
                    <a:lnTo>
                      <a:pt x="128" y="532"/>
                    </a:lnTo>
                    <a:lnTo>
                      <a:pt x="128" y="533"/>
                    </a:lnTo>
                    <a:lnTo>
                      <a:pt x="129" y="533"/>
                    </a:lnTo>
                    <a:lnTo>
                      <a:pt x="129" y="535"/>
                    </a:lnTo>
                    <a:lnTo>
                      <a:pt x="128" y="535"/>
                    </a:lnTo>
                    <a:lnTo>
                      <a:pt x="127" y="535"/>
                    </a:lnTo>
                    <a:lnTo>
                      <a:pt x="126" y="535"/>
                    </a:lnTo>
                    <a:lnTo>
                      <a:pt x="126" y="537"/>
                    </a:lnTo>
                    <a:lnTo>
                      <a:pt x="126" y="538"/>
                    </a:lnTo>
                    <a:lnTo>
                      <a:pt x="124" y="539"/>
                    </a:lnTo>
                    <a:lnTo>
                      <a:pt x="124" y="540"/>
                    </a:lnTo>
                    <a:lnTo>
                      <a:pt x="124" y="542"/>
                    </a:lnTo>
                    <a:lnTo>
                      <a:pt x="123" y="542"/>
                    </a:lnTo>
                    <a:lnTo>
                      <a:pt x="123" y="543"/>
                    </a:lnTo>
                    <a:lnTo>
                      <a:pt x="122" y="542"/>
                    </a:lnTo>
                    <a:lnTo>
                      <a:pt x="121" y="540"/>
                    </a:lnTo>
                    <a:lnTo>
                      <a:pt x="120" y="540"/>
                    </a:lnTo>
                    <a:lnTo>
                      <a:pt x="119" y="544"/>
                    </a:lnTo>
                    <a:lnTo>
                      <a:pt x="117" y="544"/>
                    </a:lnTo>
                    <a:lnTo>
                      <a:pt x="116" y="544"/>
                    </a:lnTo>
                    <a:lnTo>
                      <a:pt x="114" y="545"/>
                    </a:lnTo>
                    <a:lnTo>
                      <a:pt x="113" y="546"/>
                    </a:lnTo>
                    <a:lnTo>
                      <a:pt x="108" y="546"/>
                    </a:lnTo>
                    <a:lnTo>
                      <a:pt x="108" y="545"/>
                    </a:lnTo>
                    <a:lnTo>
                      <a:pt x="107" y="545"/>
                    </a:lnTo>
                    <a:lnTo>
                      <a:pt x="106" y="542"/>
                    </a:lnTo>
                    <a:lnTo>
                      <a:pt x="105" y="542"/>
                    </a:lnTo>
                    <a:lnTo>
                      <a:pt x="105" y="543"/>
                    </a:lnTo>
                    <a:lnTo>
                      <a:pt x="105" y="545"/>
                    </a:lnTo>
                    <a:lnTo>
                      <a:pt x="105" y="546"/>
                    </a:lnTo>
                    <a:lnTo>
                      <a:pt x="103" y="546"/>
                    </a:lnTo>
                    <a:lnTo>
                      <a:pt x="103" y="547"/>
                    </a:lnTo>
                    <a:lnTo>
                      <a:pt x="102" y="547"/>
                    </a:lnTo>
                    <a:lnTo>
                      <a:pt x="102" y="546"/>
                    </a:lnTo>
                    <a:lnTo>
                      <a:pt x="101" y="544"/>
                    </a:lnTo>
                    <a:lnTo>
                      <a:pt x="102" y="543"/>
                    </a:lnTo>
                    <a:lnTo>
                      <a:pt x="103" y="542"/>
                    </a:lnTo>
                    <a:lnTo>
                      <a:pt x="103" y="540"/>
                    </a:lnTo>
                    <a:lnTo>
                      <a:pt x="103" y="539"/>
                    </a:lnTo>
                    <a:lnTo>
                      <a:pt x="103" y="538"/>
                    </a:lnTo>
                    <a:lnTo>
                      <a:pt x="105" y="537"/>
                    </a:lnTo>
                    <a:lnTo>
                      <a:pt x="106" y="536"/>
                    </a:lnTo>
                    <a:lnTo>
                      <a:pt x="107" y="535"/>
                    </a:lnTo>
                    <a:lnTo>
                      <a:pt x="108" y="533"/>
                    </a:lnTo>
                    <a:lnTo>
                      <a:pt x="108" y="532"/>
                    </a:lnTo>
                    <a:lnTo>
                      <a:pt x="108" y="531"/>
                    </a:lnTo>
                    <a:lnTo>
                      <a:pt x="109" y="530"/>
                    </a:lnTo>
                    <a:lnTo>
                      <a:pt x="110" y="530"/>
                    </a:lnTo>
                    <a:lnTo>
                      <a:pt x="113" y="528"/>
                    </a:lnTo>
                    <a:lnTo>
                      <a:pt x="114" y="526"/>
                    </a:lnTo>
                    <a:lnTo>
                      <a:pt x="116" y="526"/>
                    </a:lnTo>
                    <a:lnTo>
                      <a:pt x="119" y="526"/>
                    </a:lnTo>
                    <a:lnTo>
                      <a:pt x="127" y="525"/>
                    </a:lnTo>
                    <a:lnTo>
                      <a:pt x="131" y="523"/>
                    </a:lnTo>
                    <a:lnTo>
                      <a:pt x="134" y="523"/>
                    </a:lnTo>
                    <a:lnTo>
                      <a:pt x="136" y="523"/>
                    </a:lnTo>
                    <a:lnTo>
                      <a:pt x="136" y="524"/>
                    </a:lnTo>
                    <a:lnTo>
                      <a:pt x="137" y="525"/>
                    </a:lnTo>
                    <a:lnTo>
                      <a:pt x="138" y="526"/>
                    </a:lnTo>
                    <a:lnTo>
                      <a:pt x="140" y="526"/>
                    </a:lnTo>
                    <a:lnTo>
                      <a:pt x="142" y="526"/>
                    </a:lnTo>
                    <a:close/>
                    <a:moveTo>
                      <a:pt x="372" y="112"/>
                    </a:moveTo>
                    <a:lnTo>
                      <a:pt x="373" y="113"/>
                    </a:lnTo>
                    <a:lnTo>
                      <a:pt x="377" y="115"/>
                    </a:lnTo>
                    <a:lnTo>
                      <a:pt x="377" y="116"/>
                    </a:lnTo>
                    <a:lnTo>
                      <a:pt x="377" y="117"/>
                    </a:lnTo>
                    <a:lnTo>
                      <a:pt x="376" y="118"/>
                    </a:lnTo>
                    <a:lnTo>
                      <a:pt x="375" y="119"/>
                    </a:lnTo>
                    <a:lnTo>
                      <a:pt x="373" y="119"/>
                    </a:lnTo>
                    <a:lnTo>
                      <a:pt x="372" y="122"/>
                    </a:lnTo>
                    <a:lnTo>
                      <a:pt x="371" y="123"/>
                    </a:lnTo>
                    <a:lnTo>
                      <a:pt x="370" y="123"/>
                    </a:lnTo>
                    <a:lnTo>
                      <a:pt x="369" y="125"/>
                    </a:lnTo>
                    <a:lnTo>
                      <a:pt x="369" y="126"/>
                    </a:lnTo>
                    <a:lnTo>
                      <a:pt x="369" y="129"/>
                    </a:lnTo>
                    <a:lnTo>
                      <a:pt x="368" y="130"/>
                    </a:lnTo>
                    <a:lnTo>
                      <a:pt x="370" y="130"/>
                    </a:lnTo>
                    <a:lnTo>
                      <a:pt x="371" y="129"/>
                    </a:lnTo>
                    <a:lnTo>
                      <a:pt x="372" y="127"/>
                    </a:lnTo>
                    <a:lnTo>
                      <a:pt x="372" y="125"/>
                    </a:lnTo>
                    <a:lnTo>
                      <a:pt x="373" y="125"/>
                    </a:lnTo>
                    <a:lnTo>
                      <a:pt x="375" y="124"/>
                    </a:lnTo>
                    <a:lnTo>
                      <a:pt x="377" y="125"/>
                    </a:lnTo>
                    <a:lnTo>
                      <a:pt x="378" y="126"/>
                    </a:lnTo>
                    <a:lnTo>
                      <a:pt x="378" y="130"/>
                    </a:lnTo>
                    <a:lnTo>
                      <a:pt x="379" y="130"/>
                    </a:lnTo>
                    <a:lnTo>
                      <a:pt x="380" y="131"/>
                    </a:lnTo>
                    <a:lnTo>
                      <a:pt x="379" y="133"/>
                    </a:lnTo>
                    <a:lnTo>
                      <a:pt x="380" y="136"/>
                    </a:lnTo>
                    <a:lnTo>
                      <a:pt x="380" y="133"/>
                    </a:lnTo>
                    <a:lnTo>
                      <a:pt x="383" y="133"/>
                    </a:lnTo>
                    <a:lnTo>
                      <a:pt x="384" y="133"/>
                    </a:lnTo>
                    <a:lnTo>
                      <a:pt x="386" y="133"/>
                    </a:lnTo>
                    <a:lnTo>
                      <a:pt x="386" y="134"/>
                    </a:lnTo>
                    <a:lnTo>
                      <a:pt x="386" y="137"/>
                    </a:lnTo>
                    <a:lnTo>
                      <a:pt x="387" y="138"/>
                    </a:lnTo>
                    <a:lnTo>
                      <a:pt x="387" y="139"/>
                    </a:lnTo>
                    <a:lnTo>
                      <a:pt x="389" y="141"/>
                    </a:lnTo>
                    <a:lnTo>
                      <a:pt x="389" y="144"/>
                    </a:lnTo>
                    <a:lnTo>
                      <a:pt x="389" y="146"/>
                    </a:lnTo>
                    <a:lnTo>
                      <a:pt x="390" y="148"/>
                    </a:lnTo>
                    <a:lnTo>
                      <a:pt x="390" y="150"/>
                    </a:lnTo>
                    <a:lnTo>
                      <a:pt x="389" y="150"/>
                    </a:lnTo>
                    <a:lnTo>
                      <a:pt x="389" y="152"/>
                    </a:lnTo>
                    <a:lnTo>
                      <a:pt x="389" y="154"/>
                    </a:lnTo>
                    <a:lnTo>
                      <a:pt x="389" y="157"/>
                    </a:lnTo>
                    <a:lnTo>
                      <a:pt x="390" y="158"/>
                    </a:lnTo>
                    <a:lnTo>
                      <a:pt x="391" y="158"/>
                    </a:lnTo>
                    <a:lnTo>
                      <a:pt x="391" y="159"/>
                    </a:lnTo>
                    <a:lnTo>
                      <a:pt x="392" y="160"/>
                    </a:lnTo>
                    <a:lnTo>
                      <a:pt x="392" y="161"/>
                    </a:lnTo>
                    <a:lnTo>
                      <a:pt x="392" y="162"/>
                    </a:lnTo>
                    <a:lnTo>
                      <a:pt x="393" y="164"/>
                    </a:lnTo>
                    <a:lnTo>
                      <a:pt x="393" y="165"/>
                    </a:lnTo>
                    <a:lnTo>
                      <a:pt x="392" y="166"/>
                    </a:lnTo>
                    <a:lnTo>
                      <a:pt x="392" y="167"/>
                    </a:lnTo>
                    <a:lnTo>
                      <a:pt x="390" y="169"/>
                    </a:lnTo>
                    <a:lnTo>
                      <a:pt x="389" y="172"/>
                    </a:lnTo>
                    <a:lnTo>
                      <a:pt x="390" y="172"/>
                    </a:lnTo>
                    <a:lnTo>
                      <a:pt x="390" y="173"/>
                    </a:lnTo>
                    <a:lnTo>
                      <a:pt x="390" y="175"/>
                    </a:lnTo>
                    <a:lnTo>
                      <a:pt x="390" y="178"/>
                    </a:lnTo>
                    <a:lnTo>
                      <a:pt x="390" y="179"/>
                    </a:lnTo>
                    <a:lnTo>
                      <a:pt x="391" y="180"/>
                    </a:lnTo>
                    <a:lnTo>
                      <a:pt x="391" y="181"/>
                    </a:lnTo>
                    <a:lnTo>
                      <a:pt x="391" y="190"/>
                    </a:lnTo>
                    <a:lnTo>
                      <a:pt x="390" y="197"/>
                    </a:lnTo>
                    <a:lnTo>
                      <a:pt x="390" y="199"/>
                    </a:lnTo>
                    <a:lnTo>
                      <a:pt x="391" y="200"/>
                    </a:lnTo>
                    <a:lnTo>
                      <a:pt x="394" y="203"/>
                    </a:lnTo>
                    <a:lnTo>
                      <a:pt x="396" y="203"/>
                    </a:lnTo>
                    <a:lnTo>
                      <a:pt x="398" y="206"/>
                    </a:lnTo>
                    <a:lnTo>
                      <a:pt x="399" y="207"/>
                    </a:lnTo>
                    <a:lnTo>
                      <a:pt x="401" y="207"/>
                    </a:lnTo>
                    <a:lnTo>
                      <a:pt x="403" y="206"/>
                    </a:lnTo>
                    <a:lnTo>
                      <a:pt x="405" y="204"/>
                    </a:lnTo>
                    <a:lnTo>
                      <a:pt x="407" y="204"/>
                    </a:lnTo>
                    <a:lnTo>
                      <a:pt x="408" y="206"/>
                    </a:lnTo>
                    <a:lnTo>
                      <a:pt x="412" y="209"/>
                    </a:lnTo>
                    <a:lnTo>
                      <a:pt x="413" y="210"/>
                    </a:lnTo>
                    <a:lnTo>
                      <a:pt x="414" y="209"/>
                    </a:lnTo>
                    <a:lnTo>
                      <a:pt x="416" y="209"/>
                    </a:lnTo>
                    <a:lnTo>
                      <a:pt x="418" y="210"/>
                    </a:lnTo>
                    <a:lnTo>
                      <a:pt x="416" y="211"/>
                    </a:lnTo>
                    <a:lnTo>
                      <a:pt x="414" y="211"/>
                    </a:lnTo>
                    <a:lnTo>
                      <a:pt x="406" y="222"/>
                    </a:lnTo>
                    <a:lnTo>
                      <a:pt x="405" y="223"/>
                    </a:lnTo>
                    <a:lnTo>
                      <a:pt x="405" y="224"/>
                    </a:lnTo>
                    <a:lnTo>
                      <a:pt x="405" y="227"/>
                    </a:lnTo>
                    <a:lnTo>
                      <a:pt x="405" y="228"/>
                    </a:lnTo>
                    <a:lnTo>
                      <a:pt x="404" y="229"/>
                    </a:lnTo>
                    <a:lnTo>
                      <a:pt x="404" y="230"/>
                    </a:lnTo>
                    <a:lnTo>
                      <a:pt x="405" y="230"/>
                    </a:lnTo>
                    <a:lnTo>
                      <a:pt x="404" y="232"/>
                    </a:lnTo>
                    <a:lnTo>
                      <a:pt x="404" y="234"/>
                    </a:lnTo>
                    <a:lnTo>
                      <a:pt x="404" y="236"/>
                    </a:lnTo>
                    <a:lnTo>
                      <a:pt x="404" y="237"/>
                    </a:lnTo>
                    <a:lnTo>
                      <a:pt x="405" y="237"/>
                    </a:lnTo>
                    <a:lnTo>
                      <a:pt x="407" y="238"/>
                    </a:lnTo>
                    <a:lnTo>
                      <a:pt x="411" y="237"/>
                    </a:lnTo>
                    <a:lnTo>
                      <a:pt x="411" y="238"/>
                    </a:lnTo>
                    <a:lnTo>
                      <a:pt x="412" y="239"/>
                    </a:lnTo>
                    <a:lnTo>
                      <a:pt x="413" y="239"/>
                    </a:lnTo>
                    <a:lnTo>
                      <a:pt x="415" y="242"/>
                    </a:lnTo>
                    <a:lnTo>
                      <a:pt x="416" y="243"/>
                    </a:lnTo>
                    <a:lnTo>
                      <a:pt x="416" y="244"/>
                    </a:lnTo>
                    <a:lnTo>
                      <a:pt x="418" y="245"/>
                    </a:lnTo>
                    <a:lnTo>
                      <a:pt x="416" y="250"/>
                    </a:lnTo>
                    <a:lnTo>
                      <a:pt x="418" y="251"/>
                    </a:lnTo>
                    <a:lnTo>
                      <a:pt x="418" y="253"/>
                    </a:lnTo>
                    <a:lnTo>
                      <a:pt x="419" y="255"/>
                    </a:lnTo>
                    <a:lnTo>
                      <a:pt x="420" y="255"/>
                    </a:lnTo>
                    <a:lnTo>
                      <a:pt x="422" y="256"/>
                    </a:lnTo>
                    <a:lnTo>
                      <a:pt x="423" y="256"/>
                    </a:lnTo>
                    <a:lnTo>
                      <a:pt x="425" y="257"/>
                    </a:lnTo>
                    <a:lnTo>
                      <a:pt x="426" y="257"/>
                    </a:lnTo>
                    <a:lnTo>
                      <a:pt x="428" y="259"/>
                    </a:lnTo>
                    <a:lnTo>
                      <a:pt x="428" y="260"/>
                    </a:lnTo>
                    <a:lnTo>
                      <a:pt x="426" y="262"/>
                    </a:lnTo>
                    <a:lnTo>
                      <a:pt x="425" y="263"/>
                    </a:lnTo>
                    <a:lnTo>
                      <a:pt x="426" y="264"/>
                    </a:lnTo>
                    <a:lnTo>
                      <a:pt x="426" y="265"/>
                    </a:lnTo>
                    <a:lnTo>
                      <a:pt x="423" y="269"/>
                    </a:lnTo>
                    <a:lnTo>
                      <a:pt x="422" y="270"/>
                    </a:lnTo>
                    <a:lnTo>
                      <a:pt x="421" y="273"/>
                    </a:lnTo>
                    <a:lnTo>
                      <a:pt x="421" y="278"/>
                    </a:lnTo>
                    <a:lnTo>
                      <a:pt x="421" y="279"/>
                    </a:lnTo>
                    <a:lnTo>
                      <a:pt x="422" y="277"/>
                    </a:lnTo>
                    <a:lnTo>
                      <a:pt x="423" y="278"/>
                    </a:lnTo>
                    <a:lnTo>
                      <a:pt x="425" y="278"/>
                    </a:lnTo>
                    <a:lnTo>
                      <a:pt x="426" y="278"/>
                    </a:lnTo>
                    <a:lnTo>
                      <a:pt x="427" y="277"/>
                    </a:lnTo>
                    <a:lnTo>
                      <a:pt x="428" y="278"/>
                    </a:lnTo>
                    <a:lnTo>
                      <a:pt x="429" y="278"/>
                    </a:lnTo>
                    <a:lnTo>
                      <a:pt x="430" y="278"/>
                    </a:lnTo>
                    <a:lnTo>
                      <a:pt x="432" y="278"/>
                    </a:lnTo>
                    <a:lnTo>
                      <a:pt x="433" y="277"/>
                    </a:lnTo>
                    <a:lnTo>
                      <a:pt x="434" y="277"/>
                    </a:lnTo>
                    <a:lnTo>
                      <a:pt x="430" y="283"/>
                    </a:lnTo>
                    <a:lnTo>
                      <a:pt x="432" y="285"/>
                    </a:lnTo>
                    <a:lnTo>
                      <a:pt x="432" y="288"/>
                    </a:lnTo>
                    <a:lnTo>
                      <a:pt x="430" y="294"/>
                    </a:lnTo>
                    <a:lnTo>
                      <a:pt x="432" y="304"/>
                    </a:lnTo>
                    <a:lnTo>
                      <a:pt x="430" y="313"/>
                    </a:lnTo>
                    <a:lnTo>
                      <a:pt x="430" y="314"/>
                    </a:lnTo>
                    <a:lnTo>
                      <a:pt x="430" y="315"/>
                    </a:lnTo>
                    <a:lnTo>
                      <a:pt x="433" y="318"/>
                    </a:lnTo>
                    <a:lnTo>
                      <a:pt x="434" y="318"/>
                    </a:lnTo>
                    <a:lnTo>
                      <a:pt x="434" y="319"/>
                    </a:lnTo>
                    <a:lnTo>
                      <a:pt x="435" y="320"/>
                    </a:lnTo>
                    <a:lnTo>
                      <a:pt x="435" y="321"/>
                    </a:lnTo>
                    <a:lnTo>
                      <a:pt x="434" y="326"/>
                    </a:lnTo>
                    <a:lnTo>
                      <a:pt x="434" y="327"/>
                    </a:lnTo>
                    <a:lnTo>
                      <a:pt x="434" y="328"/>
                    </a:lnTo>
                    <a:lnTo>
                      <a:pt x="434" y="329"/>
                    </a:lnTo>
                    <a:lnTo>
                      <a:pt x="432" y="334"/>
                    </a:lnTo>
                    <a:lnTo>
                      <a:pt x="430" y="336"/>
                    </a:lnTo>
                    <a:lnTo>
                      <a:pt x="429" y="340"/>
                    </a:lnTo>
                    <a:lnTo>
                      <a:pt x="428" y="343"/>
                    </a:lnTo>
                    <a:lnTo>
                      <a:pt x="428" y="344"/>
                    </a:lnTo>
                    <a:lnTo>
                      <a:pt x="428" y="346"/>
                    </a:lnTo>
                    <a:lnTo>
                      <a:pt x="429" y="348"/>
                    </a:lnTo>
                    <a:lnTo>
                      <a:pt x="429" y="350"/>
                    </a:lnTo>
                    <a:lnTo>
                      <a:pt x="430" y="350"/>
                    </a:lnTo>
                    <a:lnTo>
                      <a:pt x="432" y="354"/>
                    </a:lnTo>
                    <a:lnTo>
                      <a:pt x="433" y="355"/>
                    </a:lnTo>
                    <a:lnTo>
                      <a:pt x="433" y="357"/>
                    </a:lnTo>
                    <a:lnTo>
                      <a:pt x="433" y="358"/>
                    </a:lnTo>
                    <a:lnTo>
                      <a:pt x="433" y="360"/>
                    </a:lnTo>
                    <a:lnTo>
                      <a:pt x="434" y="361"/>
                    </a:lnTo>
                    <a:lnTo>
                      <a:pt x="437" y="364"/>
                    </a:lnTo>
                    <a:lnTo>
                      <a:pt x="439" y="365"/>
                    </a:lnTo>
                    <a:lnTo>
                      <a:pt x="439" y="369"/>
                    </a:lnTo>
                    <a:lnTo>
                      <a:pt x="439" y="371"/>
                    </a:lnTo>
                    <a:lnTo>
                      <a:pt x="439" y="372"/>
                    </a:lnTo>
                    <a:lnTo>
                      <a:pt x="439" y="379"/>
                    </a:lnTo>
                    <a:lnTo>
                      <a:pt x="441" y="389"/>
                    </a:lnTo>
                    <a:lnTo>
                      <a:pt x="443" y="395"/>
                    </a:lnTo>
                    <a:lnTo>
                      <a:pt x="444" y="397"/>
                    </a:lnTo>
                    <a:lnTo>
                      <a:pt x="446" y="398"/>
                    </a:lnTo>
                    <a:lnTo>
                      <a:pt x="447" y="399"/>
                    </a:lnTo>
                    <a:lnTo>
                      <a:pt x="448" y="400"/>
                    </a:lnTo>
                    <a:lnTo>
                      <a:pt x="449" y="400"/>
                    </a:lnTo>
                    <a:lnTo>
                      <a:pt x="450" y="400"/>
                    </a:lnTo>
                    <a:lnTo>
                      <a:pt x="453" y="402"/>
                    </a:lnTo>
                    <a:lnTo>
                      <a:pt x="454" y="402"/>
                    </a:lnTo>
                    <a:lnTo>
                      <a:pt x="454" y="403"/>
                    </a:lnTo>
                    <a:lnTo>
                      <a:pt x="455" y="403"/>
                    </a:lnTo>
                    <a:lnTo>
                      <a:pt x="455" y="402"/>
                    </a:lnTo>
                    <a:lnTo>
                      <a:pt x="457" y="402"/>
                    </a:lnTo>
                    <a:lnTo>
                      <a:pt x="461" y="400"/>
                    </a:lnTo>
                    <a:lnTo>
                      <a:pt x="463" y="399"/>
                    </a:lnTo>
                    <a:lnTo>
                      <a:pt x="467" y="396"/>
                    </a:lnTo>
                    <a:lnTo>
                      <a:pt x="468" y="396"/>
                    </a:lnTo>
                    <a:lnTo>
                      <a:pt x="469" y="395"/>
                    </a:lnTo>
                    <a:lnTo>
                      <a:pt x="470" y="395"/>
                    </a:lnTo>
                    <a:lnTo>
                      <a:pt x="471" y="393"/>
                    </a:lnTo>
                    <a:lnTo>
                      <a:pt x="471" y="392"/>
                    </a:lnTo>
                    <a:lnTo>
                      <a:pt x="472" y="390"/>
                    </a:lnTo>
                    <a:lnTo>
                      <a:pt x="472" y="388"/>
                    </a:lnTo>
                    <a:lnTo>
                      <a:pt x="472" y="386"/>
                    </a:lnTo>
                    <a:lnTo>
                      <a:pt x="474" y="385"/>
                    </a:lnTo>
                    <a:lnTo>
                      <a:pt x="475" y="386"/>
                    </a:lnTo>
                    <a:lnTo>
                      <a:pt x="476" y="386"/>
                    </a:lnTo>
                    <a:lnTo>
                      <a:pt x="477" y="389"/>
                    </a:lnTo>
                    <a:lnTo>
                      <a:pt x="478" y="390"/>
                    </a:lnTo>
                    <a:lnTo>
                      <a:pt x="479" y="390"/>
                    </a:lnTo>
                    <a:lnTo>
                      <a:pt x="480" y="390"/>
                    </a:lnTo>
                    <a:lnTo>
                      <a:pt x="491" y="386"/>
                    </a:lnTo>
                    <a:lnTo>
                      <a:pt x="493" y="383"/>
                    </a:lnTo>
                    <a:lnTo>
                      <a:pt x="493" y="382"/>
                    </a:lnTo>
                    <a:lnTo>
                      <a:pt x="494" y="382"/>
                    </a:lnTo>
                    <a:lnTo>
                      <a:pt x="494" y="381"/>
                    </a:lnTo>
                    <a:lnTo>
                      <a:pt x="496" y="381"/>
                    </a:lnTo>
                    <a:lnTo>
                      <a:pt x="497" y="382"/>
                    </a:lnTo>
                    <a:lnTo>
                      <a:pt x="498" y="383"/>
                    </a:lnTo>
                    <a:lnTo>
                      <a:pt x="499" y="384"/>
                    </a:lnTo>
                    <a:lnTo>
                      <a:pt x="501" y="389"/>
                    </a:lnTo>
                    <a:lnTo>
                      <a:pt x="500" y="390"/>
                    </a:lnTo>
                    <a:lnTo>
                      <a:pt x="500" y="391"/>
                    </a:lnTo>
                    <a:lnTo>
                      <a:pt x="500" y="395"/>
                    </a:lnTo>
                    <a:lnTo>
                      <a:pt x="500" y="396"/>
                    </a:lnTo>
                    <a:lnTo>
                      <a:pt x="501" y="396"/>
                    </a:lnTo>
                    <a:lnTo>
                      <a:pt x="504" y="396"/>
                    </a:lnTo>
                    <a:lnTo>
                      <a:pt x="504" y="395"/>
                    </a:lnTo>
                    <a:lnTo>
                      <a:pt x="505" y="396"/>
                    </a:lnTo>
                    <a:lnTo>
                      <a:pt x="504" y="397"/>
                    </a:lnTo>
                    <a:lnTo>
                      <a:pt x="504" y="398"/>
                    </a:lnTo>
                    <a:lnTo>
                      <a:pt x="503" y="399"/>
                    </a:lnTo>
                    <a:lnTo>
                      <a:pt x="503" y="404"/>
                    </a:lnTo>
                    <a:lnTo>
                      <a:pt x="503" y="405"/>
                    </a:lnTo>
                    <a:lnTo>
                      <a:pt x="505" y="407"/>
                    </a:lnTo>
                    <a:lnTo>
                      <a:pt x="505" y="409"/>
                    </a:lnTo>
                    <a:lnTo>
                      <a:pt x="506" y="410"/>
                    </a:lnTo>
                    <a:lnTo>
                      <a:pt x="506" y="411"/>
                    </a:lnTo>
                    <a:lnTo>
                      <a:pt x="507" y="411"/>
                    </a:lnTo>
                    <a:lnTo>
                      <a:pt x="511" y="411"/>
                    </a:lnTo>
                    <a:lnTo>
                      <a:pt x="512" y="411"/>
                    </a:lnTo>
                    <a:lnTo>
                      <a:pt x="513" y="412"/>
                    </a:lnTo>
                    <a:lnTo>
                      <a:pt x="513" y="413"/>
                    </a:lnTo>
                    <a:lnTo>
                      <a:pt x="514" y="414"/>
                    </a:lnTo>
                    <a:lnTo>
                      <a:pt x="517" y="416"/>
                    </a:lnTo>
                    <a:lnTo>
                      <a:pt x="521" y="416"/>
                    </a:lnTo>
                    <a:lnTo>
                      <a:pt x="521" y="417"/>
                    </a:lnTo>
                    <a:lnTo>
                      <a:pt x="522" y="417"/>
                    </a:lnTo>
                    <a:lnTo>
                      <a:pt x="522" y="418"/>
                    </a:lnTo>
                    <a:lnTo>
                      <a:pt x="522" y="419"/>
                    </a:lnTo>
                    <a:lnTo>
                      <a:pt x="524" y="421"/>
                    </a:lnTo>
                    <a:lnTo>
                      <a:pt x="524" y="425"/>
                    </a:lnTo>
                    <a:lnTo>
                      <a:pt x="525" y="426"/>
                    </a:lnTo>
                    <a:lnTo>
                      <a:pt x="528" y="430"/>
                    </a:lnTo>
                    <a:lnTo>
                      <a:pt x="529" y="432"/>
                    </a:lnTo>
                    <a:lnTo>
                      <a:pt x="532" y="431"/>
                    </a:lnTo>
                    <a:lnTo>
                      <a:pt x="533" y="432"/>
                    </a:lnTo>
                    <a:lnTo>
                      <a:pt x="534" y="433"/>
                    </a:lnTo>
                    <a:lnTo>
                      <a:pt x="536" y="433"/>
                    </a:lnTo>
                    <a:lnTo>
                      <a:pt x="538" y="434"/>
                    </a:lnTo>
                    <a:lnTo>
                      <a:pt x="539" y="434"/>
                    </a:lnTo>
                    <a:lnTo>
                      <a:pt x="540" y="434"/>
                    </a:lnTo>
                    <a:lnTo>
                      <a:pt x="541" y="434"/>
                    </a:lnTo>
                    <a:lnTo>
                      <a:pt x="542" y="434"/>
                    </a:lnTo>
                    <a:lnTo>
                      <a:pt x="543" y="434"/>
                    </a:lnTo>
                    <a:lnTo>
                      <a:pt x="542" y="437"/>
                    </a:lnTo>
                    <a:lnTo>
                      <a:pt x="543" y="438"/>
                    </a:lnTo>
                    <a:lnTo>
                      <a:pt x="547" y="444"/>
                    </a:lnTo>
                    <a:lnTo>
                      <a:pt x="548" y="444"/>
                    </a:lnTo>
                    <a:lnTo>
                      <a:pt x="549" y="444"/>
                    </a:lnTo>
                    <a:lnTo>
                      <a:pt x="551" y="444"/>
                    </a:lnTo>
                    <a:lnTo>
                      <a:pt x="550" y="446"/>
                    </a:lnTo>
                    <a:lnTo>
                      <a:pt x="544" y="453"/>
                    </a:lnTo>
                    <a:lnTo>
                      <a:pt x="543" y="454"/>
                    </a:lnTo>
                    <a:lnTo>
                      <a:pt x="542" y="459"/>
                    </a:lnTo>
                    <a:lnTo>
                      <a:pt x="542" y="460"/>
                    </a:lnTo>
                    <a:lnTo>
                      <a:pt x="543" y="462"/>
                    </a:lnTo>
                    <a:lnTo>
                      <a:pt x="543" y="465"/>
                    </a:lnTo>
                    <a:lnTo>
                      <a:pt x="543" y="466"/>
                    </a:lnTo>
                    <a:lnTo>
                      <a:pt x="544" y="466"/>
                    </a:lnTo>
                    <a:lnTo>
                      <a:pt x="546" y="467"/>
                    </a:lnTo>
                    <a:lnTo>
                      <a:pt x="547" y="466"/>
                    </a:lnTo>
                    <a:lnTo>
                      <a:pt x="548" y="466"/>
                    </a:lnTo>
                    <a:lnTo>
                      <a:pt x="548" y="463"/>
                    </a:lnTo>
                    <a:lnTo>
                      <a:pt x="549" y="465"/>
                    </a:lnTo>
                    <a:lnTo>
                      <a:pt x="549" y="466"/>
                    </a:lnTo>
                    <a:lnTo>
                      <a:pt x="549" y="468"/>
                    </a:lnTo>
                    <a:lnTo>
                      <a:pt x="546" y="468"/>
                    </a:lnTo>
                    <a:lnTo>
                      <a:pt x="544" y="469"/>
                    </a:lnTo>
                    <a:lnTo>
                      <a:pt x="544" y="470"/>
                    </a:lnTo>
                    <a:lnTo>
                      <a:pt x="546" y="472"/>
                    </a:lnTo>
                    <a:lnTo>
                      <a:pt x="544" y="473"/>
                    </a:lnTo>
                    <a:lnTo>
                      <a:pt x="544" y="474"/>
                    </a:lnTo>
                    <a:lnTo>
                      <a:pt x="544" y="475"/>
                    </a:lnTo>
                    <a:lnTo>
                      <a:pt x="543" y="475"/>
                    </a:lnTo>
                    <a:lnTo>
                      <a:pt x="542" y="475"/>
                    </a:lnTo>
                    <a:lnTo>
                      <a:pt x="542" y="476"/>
                    </a:lnTo>
                    <a:lnTo>
                      <a:pt x="541" y="477"/>
                    </a:lnTo>
                    <a:lnTo>
                      <a:pt x="541" y="479"/>
                    </a:lnTo>
                    <a:lnTo>
                      <a:pt x="541" y="480"/>
                    </a:lnTo>
                    <a:lnTo>
                      <a:pt x="542" y="480"/>
                    </a:lnTo>
                    <a:lnTo>
                      <a:pt x="543" y="482"/>
                    </a:lnTo>
                    <a:lnTo>
                      <a:pt x="543" y="483"/>
                    </a:lnTo>
                    <a:lnTo>
                      <a:pt x="542" y="484"/>
                    </a:lnTo>
                    <a:lnTo>
                      <a:pt x="542" y="486"/>
                    </a:lnTo>
                    <a:lnTo>
                      <a:pt x="542" y="487"/>
                    </a:lnTo>
                    <a:lnTo>
                      <a:pt x="544" y="489"/>
                    </a:lnTo>
                    <a:lnTo>
                      <a:pt x="546" y="491"/>
                    </a:lnTo>
                    <a:lnTo>
                      <a:pt x="546" y="493"/>
                    </a:lnTo>
                    <a:lnTo>
                      <a:pt x="544" y="494"/>
                    </a:lnTo>
                    <a:lnTo>
                      <a:pt x="544" y="495"/>
                    </a:lnTo>
                    <a:lnTo>
                      <a:pt x="547" y="501"/>
                    </a:lnTo>
                    <a:lnTo>
                      <a:pt x="547" y="502"/>
                    </a:lnTo>
                    <a:lnTo>
                      <a:pt x="548" y="503"/>
                    </a:lnTo>
                    <a:lnTo>
                      <a:pt x="547" y="507"/>
                    </a:lnTo>
                    <a:lnTo>
                      <a:pt x="547" y="508"/>
                    </a:lnTo>
                    <a:lnTo>
                      <a:pt x="547" y="509"/>
                    </a:lnTo>
                    <a:lnTo>
                      <a:pt x="548" y="509"/>
                    </a:lnTo>
                    <a:lnTo>
                      <a:pt x="547" y="510"/>
                    </a:lnTo>
                    <a:lnTo>
                      <a:pt x="546" y="512"/>
                    </a:lnTo>
                    <a:lnTo>
                      <a:pt x="546" y="515"/>
                    </a:lnTo>
                    <a:lnTo>
                      <a:pt x="547" y="515"/>
                    </a:lnTo>
                    <a:lnTo>
                      <a:pt x="548" y="517"/>
                    </a:lnTo>
                    <a:lnTo>
                      <a:pt x="550" y="522"/>
                    </a:lnTo>
                    <a:lnTo>
                      <a:pt x="551" y="524"/>
                    </a:lnTo>
                    <a:lnTo>
                      <a:pt x="553" y="526"/>
                    </a:lnTo>
                    <a:lnTo>
                      <a:pt x="551" y="529"/>
                    </a:lnTo>
                    <a:lnTo>
                      <a:pt x="550" y="535"/>
                    </a:lnTo>
                    <a:lnTo>
                      <a:pt x="549" y="537"/>
                    </a:lnTo>
                    <a:lnTo>
                      <a:pt x="551" y="538"/>
                    </a:lnTo>
                    <a:lnTo>
                      <a:pt x="551" y="540"/>
                    </a:lnTo>
                    <a:lnTo>
                      <a:pt x="551" y="542"/>
                    </a:lnTo>
                    <a:lnTo>
                      <a:pt x="550" y="542"/>
                    </a:lnTo>
                    <a:lnTo>
                      <a:pt x="548" y="544"/>
                    </a:lnTo>
                    <a:lnTo>
                      <a:pt x="547" y="546"/>
                    </a:lnTo>
                    <a:lnTo>
                      <a:pt x="547" y="552"/>
                    </a:lnTo>
                    <a:lnTo>
                      <a:pt x="546" y="554"/>
                    </a:lnTo>
                    <a:lnTo>
                      <a:pt x="546" y="556"/>
                    </a:lnTo>
                    <a:lnTo>
                      <a:pt x="547" y="557"/>
                    </a:lnTo>
                    <a:lnTo>
                      <a:pt x="548" y="557"/>
                    </a:lnTo>
                    <a:lnTo>
                      <a:pt x="549" y="557"/>
                    </a:lnTo>
                    <a:lnTo>
                      <a:pt x="550" y="559"/>
                    </a:lnTo>
                    <a:lnTo>
                      <a:pt x="550" y="560"/>
                    </a:lnTo>
                    <a:lnTo>
                      <a:pt x="550" y="561"/>
                    </a:lnTo>
                    <a:lnTo>
                      <a:pt x="553" y="564"/>
                    </a:lnTo>
                    <a:lnTo>
                      <a:pt x="554" y="566"/>
                    </a:lnTo>
                    <a:lnTo>
                      <a:pt x="555" y="568"/>
                    </a:lnTo>
                    <a:lnTo>
                      <a:pt x="555" y="570"/>
                    </a:lnTo>
                    <a:lnTo>
                      <a:pt x="556" y="571"/>
                    </a:lnTo>
                    <a:lnTo>
                      <a:pt x="556" y="572"/>
                    </a:lnTo>
                    <a:lnTo>
                      <a:pt x="560" y="575"/>
                    </a:lnTo>
                    <a:lnTo>
                      <a:pt x="562" y="577"/>
                    </a:lnTo>
                    <a:lnTo>
                      <a:pt x="562" y="578"/>
                    </a:lnTo>
                    <a:lnTo>
                      <a:pt x="563" y="578"/>
                    </a:lnTo>
                    <a:lnTo>
                      <a:pt x="563" y="580"/>
                    </a:lnTo>
                    <a:lnTo>
                      <a:pt x="564" y="581"/>
                    </a:lnTo>
                    <a:lnTo>
                      <a:pt x="565" y="582"/>
                    </a:lnTo>
                    <a:lnTo>
                      <a:pt x="567" y="586"/>
                    </a:lnTo>
                    <a:lnTo>
                      <a:pt x="568" y="587"/>
                    </a:lnTo>
                    <a:lnTo>
                      <a:pt x="569" y="588"/>
                    </a:lnTo>
                    <a:lnTo>
                      <a:pt x="569" y="589"/>
                    </a:lnTo>
                    <a:lnTo>
                      <a:pt x="568" y="591"/>
                    </a:lnTo>
                    <a:lnTo>
                      <a:pt x="567" y="591"/>
                    </a:lnTo>
                    <a:lnTo>
                      <a:pt x="567" y="592"/>
                    </a:lnTo>
                    <a:lnTo>
                      <a:pt x="568" y="593"/>
                    </a:lnTo>
                    <a:lnTo>
                      <a:pt x="568" y="594"/>
                    </a:lnTo>
                    <a:lnTo>
                      <a:pt x="568" y="595"/>
                    </a:lnTo>
                    <a:lnTo>
                      <a:pt x="568" y="596"/>
                    </a:lnTo>
                    <a:lnTo>
                      <a:pt x="569" y="596"/>
                    </a:lnTo>
                    <a:lnTo>
                      <a:pt x="570" y="596"/>
                    </a:lnTo>
                    <a:lnTo>
                      <a:pt x="569" y="595"/>
                    </a:lnTo>
                    <a:lnTo>
                      <a:pt x="569" y="593"/>
                    </a:lnTo>
                    <a:lnTo>
                      <a:pt x="569" y="592"/>
                    </a:lnTo>
                    <a:lnTo>
                      <a:pt x="570" y="592"/>
                    </a:lnTo>
                    <a:lnTo>
                      <a:pt x="572" y="589"/>
                    </a:lnTo>
                    <a:lnTo>
                      <a:pt x="574" y="589"/>
                    </a:lnTo>
                    <a:lnTo>
                      <a:pt x="575" y="591"/>
                    </a:lnTo>
                    <a:lnTo>
                      <a:pt x="576" y="592"/>
                    </a:lnTo>
                    <a:lnTo>
                      <a:pt x="578" y="589"/>
                    </a:lnTo>
                    <a:lnTo>
                      <a:pt x="579" y="588"/>
                    </a:lnTo>
                    <a:lnTo>
                      <a:pt x="581" y="588"/>
                    </a:lnTo>
                    <a:lnTo>
                      <a:pt x="582" y="589"/>
                    </a:lnTo>
                    <a:lnTo>
                      <a:pt x="582" y="591"/>
                    </a:lnTo>
                    <a:lnTo>
                      <a:pt x="581" y="591"/>
                    </a:lnTo>
                    <a:lnTo>
                      <a:pt x="581" y="592"/>
                    </a:lnTo>
                    <a:lnTo>
                      <a:pt x="579" y="592"/>
                    </a:lnTo>
                    <a:lnTo>
                      <a:pt x="579" y="593"/>
                    </a:lnTo>
                    <a:lnTo>
                      <a:pt x="581" y="593"/>
                    </a:lnTo>
                    <a:lnTo>
                      <a:pt x="579" y="595"/>
                    </a:lnTo>
                    <a:lnTo>
                      <a:pt x="578" y="595"/>
                    </a:lnTo>
                    <a:lnTo>
                      <a:pt x="577" y="596"/>
                    </a:lnTo>
                    <a:lnTo>
                      <a:pt x="576" y="599"/>
                    </a:lnTo>
                    <a:lnTo>
                      <a:pt x="576" y="600"/>
                    </a:lnTo>
                    <a:lnTo>
                      <a:pt x="575" y="601"/>
                    </a:lnTo>
                    <a:lnTo>
                      <a:pt x="575" y="602"/>
                    </a:lnTo>
                    <a:lnTo>
                      <a:pt x="576" y="603"/>
                    </a:lnTo>
                    <a:lnTo>
                      <a:pt x="576" y="605"/>
                    </a:lnTo>
                    <a:lnTo>
                      <a:pt x="577" y="605"/>
                    </a:lnTo>
                    <a:lnTo>
                      <a:pt x="579" y="610"/>
                    </a:lnTo>
                    <a:lnTo>
                      <a:pt x="579" y="612"/>
                    </a:lnTo>
                    <a:lnTo>
                      <a:pt x="579" y="614"/>
                    </a:lnTo>
                    <a:lnTo>
                      <a:pt x="579" y="615"/>
                    </a:lnTo>
                    <a:lnTo>
                      <a:pt x="579" y="616"/>
                    </a:lnTo>
                    <a:lnTo>
                      <a:pt x="582" y="621"/>
                    </a:lnTo>
                    <a:lnTo>
                      <a:pt x="583" y="626"/>
                    </a:lnTo>
                    <a:lnTo>
                      <a:pt x="584" y="627"/>
                    </a:lnTo>
                    <a:lnTo>
                      <a:pt x="585" y="628"/>
                    </a:lnTo>
                    <a:lnTo>
                      <a:pt x="586" y="628"/>
                    </a:lnTo>
                    <a:lnTo>
                      <a:pt x="586" y="629"/>
                    </a:lnTo>
                    <a:lnTo>
                      <a:pt x="585" y="631"/>
                    </a:lnTo>
                    <a:lnTo>
                      <a:pt x="585" y="636"/>
                    </a:lnTo>
                    <a:lnTo>
                      <a:pt x="585" y="637"/>
                    </a:lnTo>
                    <a:lnTo>
                      <a:pt x="585" y="638"/>
                    </a:lnTo>
                    <a:lnTo>
                      <a:pt x="588" y="642"/>
                    </a:lnTo>
                    <a:lnTo>
                      <a:pt x="589" y="644"/>
                    </a:lnTo>
                    <a:lnTo>
                      <a:pt x="590" y="644"/>
                    </a:lnTo>
                    <a:lnTo>
                      <a:pt x="590" y="647"/>
                    </a:lnTo>
                    <a:lnTo>
                      <a:pt x="589" y="648"/>
                    </a:lnTo>
                    <a:lnTo>
                      <a:pt x="588" y="649"/>
                    </a:lnTo>
                    <a:lnTo>
                      <a:pt x="586" y="650"/>
                    </a:lnTo>
                    <a:lnTo>
                      <a:pt x="586" y="651"/>
                    </a:lnTo>
                    <a:lnTo>
                      <a:pt x="586" y="656"/>
                    </a:lnTo>
                    <a:lnTo>
                      <a:pt x="585" y="656"/>
                    </a:lnTo>
                    <a:lnTo>
                      <a:pt x="584" y="657"/>
                    </a:lnTo>
                    <a:lnTo>
                      <a:pt x="584" y="658"/>
                    </a:lnTo>
                    <a:lnTo>
                      <a:pt x="585" y="658"/>
                    </a:lnTo>
                    <a:lnTo>
                      <a:pt x="585" y="659"/>
                    </a:lnTo>
                    <a:lnTo>
                      <a:pt x="584" y="659"/>
                    </a:lnTo>
                    <a:lnTo>
                      <a:pt x="584" y="661"/>
                    </a:lnTo>
                    <a:lnTo>
                      <a:pt x="585" y="662"/>
                    </a:lnTo>
                    <a:lnTo>
                      <a:pt x="585" y="663"/>
                    </a:lnTo>
                    <a:lnTo>
                      <a:pt x="585" y="664"/>
                    </a:lnTo>
                    <a:lnTo>
                      <a:pt x="584" y="666"/>
                    </a:lnTo>
                    <a:lnTo>
                      <a:pt x="584" y="668"/>
                    </a:lnTo>
                    <a:lnTo>
                      <a:pt x="582" y="672"/>
                    </a:lnTo>
                    <a:lnTo>
                      <a:pt x="577" y="678"/>
                    </a:lnTo>
                    <a:lnTo>
                      <a:pt x="577" y="680"/>
                    </a:lnTo>
                    <a:lnTo>
                      <a:pt x="576" y="683"/>
                    </a:lnTo>
                    <a:lnTo>
                      <a:pt x="576" y="684"/>
                    </a:lnTo>
                    <a:lnTo>
                      <a:pt x="576" y="685"/>
                    </a:lnTo>
                    <a:lnTo>
                      <a:pt x="576" y="686"/>
                    </a:lnTo>
                    <a:lnTo>
                      <a:pt x="576" y="687"/>
                    </a:lnTo>
                    <a:lnTo>
                      <a:pt x="576" y="690"/>
                    </a:lnTo>
                    <a:lnTo>
                      <a:pt x="577" y="691"/>
                    </a:lnTo>
                    <a:lnTo>
                      <a:pt x="582" y="698"/>
                    </a:lnTo>
                    <a:lnTo>
                      <a:pt x="583" y="699"/>
                    </a:lnTo>
                    <a:lnTo>
                      <a:pt x="585" y="700"/>
                    </a:lnTo>
                    <a:lnTo>
                      <a:pt x="586" y="700"/>
                    </a:lnTo>
                    <a:lnTo>
                      <a:pt x="586" y="701"/>
                    </a:lnTo>
                    <a:lnTo>
                      <a:pt x="588" y="701"/>
                    </a:lnTo>
                    <a:lnTo>
                      <a:pt x="586" y="704"/>
                    </a:lnTo>
                    <a:lnTo>
                      <a:pt x="589" y="710"/>
                    </a:lnTo>
                    <a:lnTo>
                      <a:pt x="588" y="711"/>
                    </a:lnTo>
                    <a:lnTo>
                      <a:pt x="589" y="711"/>
                    </a:lnTo>
                    <a:lnTo>
                      <a:pt x="591" y="711"/>
                    </a:lnTo>
                    <a:lnTo>
                      <a:pt x="592" y="712"/>
                    </a:lnTo>
                    <a:lnTo>
                      <a:pt x="593" y="712"/>
                    </a:lnTo>
                    <a:lnTo>
                      <a:pt x="595" y="712"/>
                    </a:lnTo>
                    <a:lnTo>
                      <a:pt x="597" y="713"/>
                    </a:lnTo>
                    <a:lnTo>
                      <a:pt x="596" y="717"/>
                    </a:lnTo>
                    <a:lnTo>
                      <a:pt x="596" y="719"/>
                    </a:lnTo>
                    <a:lnTo>
                      <a:pt x="595" y="721"/>
                    </a:lnTo>
                    <a:lnTo>
                      <a:pt x="592" y="726"/>
                    </a:lnTo>
                    <a:lnTo>
                      <a:pt x="590" y="734"/>
                    </a:lnTo>
                    <a:lnTo>
                      <a:pt x="590" y="735"/>
                    </a:lnTo>
                    <a:lnTo>
                      <a:pt x="590" y="736"/>
                    </a:lnTo>
                    <a:lnTo>
                      <a:pt x="590" y="738"/>
                    </a:lnTo>
                    <a:lnTo>
                      <a:pt x="591" y="740"/>
                    </a:lnTo>
                    <a:lnTo>
                      <a:pt x="591" y="741"/>
                    </a:lnTo>
                    <a:lnTo>
                      <a:pt x="592" y="741"/>
                    </a:lnTo>
                    <a:lnTo>
                      <a:pt x="592" y="742"/>
                    </a:lnTo>
                    <a:lnTo>
                      <a:pt x="593" y="745"/>
                    </a:lnTo>
                    <a:lnTo>
                      <a:pt x="598" y="748"/>
                    </a:lnTo>
                    <a:lnTo>
                      <a:pt x="599" y="749"/>
                    </a:lnTo>
                    <a:lnTo>
                      <a:pt x="600" y="753"/>
                    </a:lnTo>
                    <a:lnTo>
                      <a:pt x="602" y="754"/>
                    </a:lnTo>
                    <a:lnTo>
                      <a:pt x="603" y="754"/>
                    </a:lnTo>
                    <a:lnTo>
                      <a:pt x="605" y="755"/>
                    </a:lnTo>
                    <a:lnTo>
                      <a:pt x="606" y="756"/>
                    </a:lnTo>
                    <a:lnTo>
                      <a:pt x="607" y="757"/>
                    </a:lnTo>
                    <a:lnTo>
                      <a:pt x="607" y="759"/>
                    </a:lnTo>
                    <a:lnTo>
                      <a:pt x="608" y="759"/>
                    </a:lnTo>
                    <a:lnTo>
                      <a:pt x="610" y="760"/>
                    </a:lnTo>
                    <a:lnTo>
                      <a:pt x="613" y="762"/>
                    </a:lnTo>
                    <a:lnTo>
                      <a:pt x="617" y="763"/>
                    </a:lnTo>
                    <a:lnTo>
                      <a:pt x="620" y="762"/>
                    </a:lnTo>
                    <a:lnTo>
                      <a:pt x="621" y="763"/>
                    </a:lnTo>
                    <a:lnTo>
                      <a:pt x="622" y="766"/>
                    </a:lnTo>
                    <a:lnTo>
                      <a:pt x="624" y="768"/>
                    </a:lnTo>
                    <a:lnTo>
                      <a:pt x="625" y="769"/>
                    </a:lnTo>
                    <a:lnTo>
                      <a:pt x="627" y="770"/>
                    </a:lnTo>
                    <a:lnTo>
                      <a:pt x="628" y="771"/>
                    </a:lnTo>
                    <a:lnTo>
                      <a:pt x="629" y="774"/>
                    </a:lnTo>
                    <a:lnTo>
                      <a:pt x="633" y="773"/>
                    </a:lnTo>
                    <a:lnTo>
                      <a:pt x="634" y="773"/>
                    </a:lnTo>
                    <a:lnTo>
                      <a:pt x="635" y="773"/>
                    </a:lnTo>
                    <a:lnTo>
                      <a:pt x="638" y="770"/>
                    </a:lnTo>
                    <a:lnTo>
                      <a:pt x="639" y="769"/>
                    </a:lnTo>
                    <a:lnTo>
                      <a:pt x="639" y="768"/>
                    </a:lnTo>
                    <a:lnTo>
                      <a:pt x="639" y="767"/>
                    </a:lnTo>
                    <a:lnTo>
                      <a:pt x="639" y="764"/>
                    </a:lnTo>
                    <a:lnTo>
                      <a:pt x="640" y="766"/>
                    </a:lnTo>
                    <a:lnTo>
                      <a:pt x="641" y="768"/>
                    </a:lnTo>
                    <a:lnTo>
                      <a:pt x="641" y="769"/>
                    </a:lnTo>
                    <a:lnTo>
                      <a:pt x="641" y="770"/>
                    </a:lnTo>
                    <a:lnTo>
                      <a:pt x="641" y="771"/>
                    </a:lnTo>
                    <a:lnTo>
                      <a:pt x="640" y="774"/>
                    </a:lnTo>
                    <a:lnTo>
                      <a:pt x="640" y="775"/>
                    </a:lnTo>
                    <a:lnTo>
                      <a:pt x="642" y="777"/>
                    </a:lnTo>
                    <a:lnTo>
                      <a:pt x="642" y="778"/>
                    </a:lnTo>
                    <a:lnTo>
                      <a:pt x="645" y="783"/>
                    </a:lnTo>
                    <a:lnTo>
                      <a:pt x="646" y="782"/>
                    </a:lnTo>
                    <a:lnTo>
                      <a:pt x="647" y="782"/>
                    </a:lnTo>
                    <a:lnTo>
                      <a:pt x="652" y="783"/>
                    </a:lnTo>
                    <a:lnTo>
                      <a:pt x="653" y="784"/>
                    </a:lnTo>
                    <a:lnTo>
                      <a:pt x="654" y="784"/>
                    </a:lnTo>
                    <a:lnTo>
                      <a:pt x="655" y="784"/>
                    </a:lnTo>
                    <a:lnTo>
                      <a:pt x="664" y="785"/>
                    </a:lnTo>
                    <a:lnTo>
                      <a:pt x="667" y="784"/>
                    </a:lnTo>
                    <a:lnTo>
                      <a:pt x="667" y="783"/>
                    </a:lnTo>
                    <a:lnTo>
                      <a:pt x="667" y="781"/>
                    </a:lnTo>
                    <a:lnTo>
                      <a:pt x="666" y="780"/>
                    </a:lnTo>
                    <a:lnTo>
                      <a:pt x="664" y="778"/>
                    </a:lnTo>
                    <a:lnTo>
                      <a:pt x="664" y="777"/>
                    </a:lnTo>
                    <a:lnTo>
                      <a:pt x="666" y="777"/>
                    </a:lnTo>
                    <a:lnTo>
                      <a:pt x="667" y="780"/>
                    </a:lnTo>
                    <a:lnTo>
                      <a:pt x="669" y="788"/>
                    </a:lnTo>
                    <a:lnTo>
                      <a:pt x="672" y="794"/>
                    </a:lnTo>
                    <a:lnTo>
                      <a:pt x="674" y="795"/>
                    </a:lnTo>
                    <a:lnTo>
                      <a:pt x="674" y="797"/>
                    </a:lnTo>
                    <a:lnTo>
                      <a:pt x="674" y="798"/>
                    </a:lnTo>
                    <a:lnTo>
                      <a:pt x="674" y="801"/>
                    </a:lnTo>
                    <a:lnTo>
                      <a:pt x="675" y="803"/>
                    </a:lnTo>
                    <a:lnTo>
                      <a:pt x="675" y="804"/>
                    </a:lnTo>
                    <a:lnTo>
                      <a:pt x="675" y="806"/>
                    </a:lnTo>
                    <a:lnTo>
                      <a:pt x="675" y="808"/>
                    </a:lnTo>
                    <a:lnTo>
                      <a:pt x="672" y="808"/>
                    </a:lnTo>
                    <a:lnTo>
                      <a:pt x="674" y="808"/>
                    </a:lnTo>
                    <a:lnTo>
                      <a:pt x="674" y="809"/>
                    </a:lnTo>
                    <a:lnTo>
                      <a:pt x="675" y="811"/>
                    </a:lnTo>
                    <a:lnTo>
                      <a:pt x="679" y="817"/>
                    </a:lnTo>
                    <a:lnTo>
                      <a:pt x="682" y="818"/>
                    </a:lnTo>
                    <a:lnTo>
                      <a:pt x="686" y="818"/>
                    </a:lnTo>
                    <a:lnTo>
                      <a:pt x="685" y="813"/>
                    </a:lnTo>
                    <a:lnTo>
                      <a:pt x="685" y="812"/>
                    </a:lnTo>
                    <a:lnTo>
                      <a:pt x="685" y="808"/>
                    </a:lnTo>
                    <a:lnTo>
                      <a:pt x="690" y="810"/>
                    </a:lnTo>
                    <a:lnTo>
                      <a:pt x="691" y="811"/>
                    </a:lnTo>
                    <a:lnTo>
                      <a:pt x="691" y="818"/>
                    </a:lnTo>
                    <a:lnTo>
                      <a:pt x="692" y="820"/>
                    </a:lnTo>
                    <a:lnTo>
                      <a:pt x="693" y="822"/>
                    </a:lnTo>
                    <a:lnTo>
                      <a:pt x="696" y="824"/>
                    </a:lnTo>
                    <a:lnTo>
                      <a:pt x="697" y="825"/>
                    </a:lnTo>
                    <a:lnTo>
                      <a:pt x="698" y="825"/>
                    </a:lnTo>
                    <a:lnTo>
                      <a:pt x="702" y="825"/>
                    </a:lnTo>
                    <a:lnTo>
                      <a:pt x="702" y="824"/>
                    </a:lnTo>
                    <a:lnTo>
                      <a:pt x="703" y="824"/>
                    </a:lnTo>
                    <a:lnTo>
                      <a:pt x="704" y="824"/>
                    </a:lnTo>
                    <a:lnTo>
                      <a:pt x="706" y="824"/>
                    </a:lnTo>
                    <a:lnTo>
                      <a:pt x="709" y="826"/>
                    </a:lnTo>
                    <a:lnTo>
                      <a:pt x="709" y="827"/>
                    </a:lnTo>
                    <a:lnTo>
                      <a:pt x="710" y="829"/>
                    </a:lnTo>
                    <a:lnTo>
                      <a:pt x="713" y="830"/>
                    </a:lnTo>
                    <a:lnTo>
                      <a:pt x="718" y="831"/>
                    </a:lnTo>
                    <a:lnTo>
                      <a:pt x="719" y="832"/>
                    </a:lnTo>
                    <a:lnTo>
                      <a:pt x="718" y="833"/>
                    </a:lnTo>
                    <a:lnTo>
                      <a:pt x="719" y="834"/>
                    </a:lnTo>
                    <a:lnTo>
                      <a:pt x="720" y="837"/>
                    </a:lnTo>
                    <a:lnTo>
                      <a:pt x="719" y="837"/>
                    </a:lnTo>
                    <a:lnTo>
                      <a:pt x="718" y="838"/>
                    </a:lnTo>
                    <a:lnTo>
                      <a:pt x="718" y="839"/>
                    </a:lnTo>
                    <a:lnTo>
                      <a:pt x="717" y="840"/>
                    </a:lnTo>
                    <a:lnTo>
                      <a:pt x="719" y="841"/>
                    </a:lnTo>
                    <a:lnTo>
                      <a:pt x="721" y="844"/>
                    </a:lnTo>
                    <a:lnTo>
                      <a:pt x="721" y="845"/>
                    </a:lnTo>
                    <a:lnTo>
                      <a:pt x="724" y="847"/>
                    </a:lnTo>
                    <a:lnTo>
                      <a:pt x="726" y="847"/>
                    </a:lnTo>
                    <a:lnTo>
                      <a:pt x="726" y="848"/>
                    </a:lnTo>
                    <a:lnTo>
                      <a:pt x="726" y="849"/>
                    </a:lnTo>
                    <a:lnTo>
                      <a:pt x="728" y="849"/>
                    </a:lnTo>
                    <a:lnTo>
                      <a:pt x="730" y="849"/>
                    </a:lnTo>
                    <a:lnTo>
                      <a:pt x="730" y="848"/>
                    </a:lnTo>
                    <a:lnTo>
                      <a:pt x="731" y="848"/>
                    </a:lnTo>
                    <a:lnTo>
                      <a:pt x="730" y="847"/>
                    </a:lnTo>
                    <a:lnTo>
                      <a:pt x="728" y="847"/>
                    </a:lnTo>
                    <a:lnTo>
                      <a:pt x="727" y="847"/>
                    </a:lnTo>
                    <a:lnTo>
                      <a:pt x="728" y="846"/>
                    </a:lnTo>
                    <a:lnTo>
                      <a:pt x="730" y="846"/>
                    </a:lnTo>
                    <a:lnTo>
                      <a:pt x="731" y="846"/>
                    </a:lnTo>
                    <a:lnTo>
                      <a:pt x="731" y="845"/>
                    </a:lnTo>
                    <a:lnTo>
                      <a:pt x="731" y="844"/>
                    </a:lnTo>
                    <a:lnTo>
                      <a:pt x="730" y="844"/>
                    </a:lnTo>
                    <a:lnTo>
                      <a:pt x="730" y="842"/>
                    </a:lnTo>
                    <a:lnTo>
                      <a:pt x="728" y="841"/>
                    </a:lnTo>
                    <a:lnTo>
                      <a:pt x="730" y="840"/>
                    </a:lnTo>
                    <a:lnTo>
                      <a:pt x="731" y="839"/>
                    </a:lnTo>
                    <a:lnTo>
                      <a:pt x="732" y="840"/>
                    </a:lnTo>
                    <a:lnTo>
                      <a:pt x="732" y="841"/>
                    </a:lnTo>
                    <a:lnTo>
                      <a:pt x="733" y="841"/>
                    </a:lnTo>
                    <a:lnTo>
                      <a:pt x="734" y="841"/>
                    </a:lnTo>
                    <a:lnTo>
                      <a:pt x="735" y="841"/>
                    </a:lnTo>
                    <a:lnTo>
                      <a:pt x="736" y="840"/>
                    </a:lnTo>
                    <a:lnTo>
                      <a:pt x="738" y="840"/>
                    </a:lnTo>
                    <a:lnTo>
                      <a:pt x="738" y="845"/>
                    </a:lnTo>
                    <a:lnTo>
                      <a:pt x="738" y="847"/>
                    </a:lnTo>
                    <a:lnTo>
                      <a:pt x="739" y="848"/>
                    </a:lnTo>
                    <a:lnTo>
                      <a:pt x="740" y="849"/>
                    </a:lnTo>
                    <a:lnTo>
                      <a:pt x="740" y="851"/>
                    </a:lnTo>
                    <a:lnTo>
                      <a:pt x="739" y="852"/>
                    </a:lnTo>
                    <a:lnTo>
                      <a:pt x="740" y="852"/>
                    </a:lnTo>
                    <a:lnTo>
                      <a:pt x="741" y="852"/>
                    </a:lnTo>
                    <a:lnTo>
                      <a:pt x="742" y="851"/>
                    </a:lnTo>
                    <a:lnTo>
                      <a:pt x="742" y="849"/>
                    </a:lnTo>
                    <a:lnTo>
                      <a:pt x="742" y="848"/>
                    </a:lnTo>
                    <a:lnTo>
                      <a:pt x="743" y="849"/>
                    </a:lnTo>
                    <a:lnTo>
                      <a:pt x="743" y="851"/>
                    </a:lnTo>
                    <a:lnTo>
                      <a:pt x="742" y="852"/>
                    </a:lnTo>
                    <a:lnTo>
                      <a:pt x="745" y="851"/>
                    </a:lnTo>
                    <a:lnTo>
                      <a:pt x="745" y="852"/>
                    </a:lnTo>
                    <a:lnTo>
                      <a:pt x="743" y="853"/>
                    </a:lnTo>
                    <a:lnTo>
                      <a:pt x="745" y="854"/>
                    </a:lnTo>
                    <a:lnTo>
                      <a:pt x="745" y="855"/>
                    </a:lnTo>
                    <a:lnTo>
                      <a:pt x="745" y="856"/>
                    </a:lnTo>
                    <a:lnTo>
                      <a:pt x="747" y="856"/>
                    </a:lnTo>
                    <a:lnTo>
                      <a:pt x="748" y="855"/>
                    </a:lnTo>
                    <a:lnTo>
                      <a:pt x="749" y="856"/>
                    </a:lnTo>
                    <a:lnTo>
                      <a:pt x="749" y="854"/>
                    </a:lnTo>
                    <a:lnTo>
                      <a:pt x="752" y="855"/>
                    </a:lnTo>
                    <a:lnTo>
                      <a:pt x="753" y="858"/>
                    </a:lnTo>
                    <a:lnTo>
                      <a:pt x="752" y="859"/>
                    </a:lnTo>
                    <a:lnTo>
                      <a:pt x="753" y="860"/>
                    </a:lnTo>
                    <a:lnTo>
                      <a:pt x="753" y="861"/>
                    </a:lnTo>
                    <a:lnTo>
                      <a:pt x="753" y="862"/>
                    </a:lnTo>
                    <a:lnTo>
                      <a:pt x="754" y="862"/>
                    </a:lnTo>
                    <a:lnTo>
                      <a:pt x="755" y="863"/>
                    </a:lnTo>
                    <a:lnTo>
                      <a:pt x="755" y="865"/>
                    </a:lnTo>
                    <a:lnTo>
                      <a:pt x="754" y="866"/>
                    </a:lnTo>
                    <a:lnTo>
                      <a:pt x="754" y="867"/>
                    </a:lnTo>
                    <a:lnTo>
                      <a:pt x="754" y="869"/>
                    </a:lnTo>
                    <a:lnTo>
                      <a:pt x="755" y="870"/>
                    </a:lnTo>
                    <a:lnTo>
                      <a:pt x="759" y="873"/>
                    </a:lnTo>
                    <a:lnTo>
                      <a:pt x="757" y="874"/>
                    </a:lnTo>
                    <a:lnTo>
                      <a:pt x="757" y="875"/>
                    </a:lnTo>
                    <a:lnTo>
                      <a:pt x="759" y="876"/>
                    </a:lnTo>
                    <a:lnTo>
                      <a:pt x="759" y="877"/>
                    </a:lnTo>
                    <a:lnTo>
                      <a:pt x="757" y="877"/>
                    </a:lnTo>
                    <a:lnTo>
                      <a:pt x="756" y="877"/>
                    </a:lnTo>
                    <a:lnTo>
                      <a:pt x="756" y="876"/>
                    </a:lnTo>
                    <a:lnTo>
                      <a:pt x="755" y="876"/>
                    </a:lnTo>
                    <a:lnTo>
                      <a:pt x="754" y="876"/>
                    </a:lnTo>
                    <a:lnTo>
                      <a:pt x="754" y="875"/>
                    </a:lnTo>
                    <a:lnTo>
                      <a:pt x="753" y="874"/>
                    </a:lnTo>
                    <a:lnTo>
                      <a:pt x="752" y="874"/>
                    </a:lnTo>
                    <a:lnTo>
                      <a:pt x="753" y="873"/>
                    </a:lnTo>
                    <a:lnTo>
                      <a:pt x="753" y="872"/>
                    </a:lnTo>
                    <a:lnTo>
                      <a:pt x="753" y="870"/>
                    </a:lnTo>
                    <a:lnTo>
                      <a:pt x="752" y="870"/>
                    </a:lnTo>
                    <a:lnTo>
                      <a:pt x="752" y="869"/>
                    </a:lnTo>
                    <a:lnTo>
                      <a:pt x="750" y="869"/>
                    </a:lnTo>
                    <a:lnTo>
                      <a:pt x="750" y="870"/>
                    </a:lnTo>
                    <a:lnTo>
                      <a:pt x="749" y="870"/>
                    </a:lnTo>
                    <a:lnTo>
                      <a:pt x="749" y="872"/>
                    </a:lnTo>
                    <a:lnTo>
                      <a:pt x="748" y="872"/>
                    </a:lnTo>
                    <a:lnTo>
                      <a:pt x="747" y="872"/>
                    </a:lnTo>
                    <a:lnTo>
                      <a:pt x="746" y="872"/>
                    </a:lnTo>
                    <a:lnTo>
                      <a:pt x="746" y="870"/>
                    </a:lnTo>
                    <a:lnTo>
                      <a:pt x="746" y="869"/>
                    </a:lnTo>
                    <a:lnTo>
                      <a:pt x="743" y="869"/>
                    </a:lnTo>
                    <a:lnTo>
                      <a:pt x="743" y="870"/>
                    </a:lnTo>
                    <a:lnTo>
                      <a:pt x="745" y="872"/>
                    </a:lnTo>
                    <a:lnTo>
                      <a:pt x="745" y="874"/>
                    </a:lnTo>
                    <a:lnTo>
                      <a:pt x="745" y="875"/>
                    </a:lnTo>
                    <a:lnTo>
                      <a:pt x="742" y="876"/>
                    </a:lnTo>
                    <a:lnTo>
                      <a:pt x="741" y="877"/>
                    </a:lnTo>
                    <a:lnTo>
                      <a:pt x="740" y="877"/>
                    </a:lnTo>
                    <a:lnTo>
                      <a:pt x="740" y="879"/>
                    </a:lnTo>
                    <a:lnTo>
                      <a:pt x="740" y="880"/>
                    </a:lnTo>
                    <a:lnTo>
                      <a:pt x="741" y="881"/>
                    </a:lnTo>
                    <a:lnTo>
                      <a:pt x="742" y="882"/>
                    </a:lnTo>
                    <a:lnTo>
                      <a:pt x="742" y="883"/>
                    </a:lnTo>
                    <a:lnTo>
                      <a:pt x="743" y="883"/>
                    </a:lnTo>
                    <a:lnTo>
                      <a:pt x="743" y="884"/>
                    </a:lnTo>
                    <a:lnTo>
                      <a:pt x="742" y="887"/>
                    </a:lnTo>
                    <a:lnTo>
                      <a:pt x="743" y="887"/>
                    </a:lnTo>
                    <a:lnTo>
                      <a:pt x="745" y="889"/>
                    </a:lnTo>
                    <a:lnTo>
                      <a:pt x="746" y="890"/>
                    </a:lnTo>
                    <a:lnTo>
                      <a:pt x="747" y="893"/>
                    </a:lnTo>
                    <a:lnTo>
                      <a:pt x="747" y="894"/>
                    </a:lnTo>
                    <a:lnTo>
                      <a:pt x="748" y="894"/>
                    </a:lnTo>
                    <a:lnTo>
                      <a:pt x="749" y="894"/>
                    </a:lnTo>
                    <a:lnTo>
                      <a:pt x="750" y="894"/>
                    </a:lnTo>
                    <a:lnTo>
                      <a:pt x="750" y="895"/>
                    </a:lnTo>
                    <a:lnTo>
                      <a:pt x="750" y="898"/>
                    </a:lnTo>
                    <a:lnTo>
                      <a:pt x="750" y="900"/>
                    </a:lnTo>
                    <a:lnTo>
                      <a:pt x="749" y="901"/>
                    </a:lnTo>
                    <a:lnTo>
                      <a:pt x="749" y="902"/>
                    </a:lnTo>
                    <a:lnTo>
                      <a:pt x="748" y="903"/>
                    </a:lnTo>
                    <a:lnTo>
                      <a:pt x="750" y="903"/>
                    </a:lnTo>
                    <a:lnTo>
                      <a:pt x="750" y="902"/>
                    </a:lnTo>
                    <a:lnTo>
                      <a:pt x="753" y="900"/>
                    </a:lnTo>
                    <a:lnTo>
                      <a:pt x="753" y="901"/>
                    </a:lnTo>
                    <a:lnTo>
                      <a:pt x="754" y="902"/>
                    </a:lnTo>
                    <a:lnTo>
                      <a:pt x="755" y="903"/>
                    </a:lnTo>
                    <a:lnTo>
                      <a:pt x="757" y="902"/>
                    </a:lnTo>
                    <a:lnTo>
                      <a:pt x="759" y="902"/>
                    </a:lnTo>
                    <a:lnTo>
                      <a:pt x="759" y="903"/>
                    </a:lnTo>
                    <a:lnTo>
                      <a:pt x="761" y="905"/>
                    </a:lnTo>
                    <a:lnTo>
                      <a:pt x="762" y="905"/>
                    </a:lnTo>
                    <a:lnTo>
                      <a:pt x="763" y="905"/>
                    </a:lnTo>
                    <a:lnTo>
                      <a:pt x="764" y="905"/>
                    </a:lnTo>
                    <a:lnTo>
                      <a:pt x="766" y="908"/>
                    </a:lnTo>
                    <a:lnTo>
                      <a:pt x="764" y="907"/>
                    </a:lnTo>
                    <a:lnTo>
                      <a:pt x="762" y="907"/>
                    </a:lnTo>
                    <a:lnTo>
                      <a:pt x="762" y="908"/>
                    </a:lnTo>
                    <a:lnTo>
                      <a:pt x="762" y="909"/>
                    </a:lnTo>
                    <a:lnTo>
                      <a:pt x="762" y="910"/>
                    </a:lnTo>
                    <a:lnTo>
                      <a:pt x="761" y="910"/>
                    </a:lnTo>
                    <a:lnTo>
                      <a:pt x="763" y="911"/>
                    </a:lnTo>
                    <a:lnTo>
                      <a:pt x="766" y="910"/>
                    </a:lnTo>
                    <a:lnTo>
                      <a:pt x="767" y="911"/>
                    </a:lnTo>
                    <a:lnTo>
                      <a:pt x="767" y="912"/>
                    </a:lnTo>
                    <a:lnTo>
                      <a:pt x="770" y="912"/>
                    </a:lnTo>
                    <a:lnTo>
                      <a:pt x="770" y="914"/>
                    </a:lnTo>
                    <a:lnTo>
                      <a:pt x="770" y="915"/>
                    </a:lnTo>
                    <a:lnTo>
                      <a:pt x="771" y="916"/>
                    </a:lnTo>
                    <a:lnTo>
                      <a:pt x="771" y="917"/>
                    </a:lnTo>
                    <a:lnTo>
                      <a:pt x="773" y="917"/>
                    </a:lnTo>
                    <a:lnTo>
                      <a:pt x="774" y="921"/>
                    </a:lnTo>
                    <a:lnTo>
                      <a:pt x="774" y="923"/>
                    </a:lnTo>
                    <a:lnTo>
                      <a:pt x="771" y="926"/>
                    </a:lnTo>
                    <a:lnTo>
                      <a:pt x="770" y="930"/>
                    </a:lnTo>
                    <a:lnTo>
                      <a:pt x="773" y="933"/>
                    </a:lnTo>
                    <a:lnTo>
                      <a:pt x="773" y="935"/>
                    </a:lnTo>
                    <a:lnTo>
                      <a:pt x="774" y="935"/>
                    </a:lnTo>
                    <a:lnTo>
                      <a:pt x="774" y="932"/>
                    </a:lnTo>
                    <a:lnTo>
                      <a:pt x="775" y="932"/>
                    </a:lnTo>
                    <a:lnTo>
                      <a:pt x="775" y="933"/>
                    </a:lnTo>
                    <a:lnTo>
                      <a:pt x="776" y="933"/>
                    </a:lnTo>
                    <a:lnTo>
                      <a:pt x="775" y="935"/>
                    </a:lnTo>
                    <a:lnTo>
                      <a:pt x="776" y="935"/>
                    </a:lnTo>
                    <a:lnTo>
                      <a:pt x="777" y="935"/>
                    </a:lnTo>
                    <a:lnTo>
                      <a:pt x="777" y="936"/>
                    </a:lnTo>
                    <a:lnTo>
                      <a:pt x="777" y="937"/>
                    </a:lnTo>
                    <a:lnTo>
                      <a:pt x="776" y="938"/>
                    </a:lnTo>
                    <a:lnTo>
                      <a:pt x="777" y="939"/>
                    </a:lnTo>
                    <a:lnTo>
                      <a:pt x="778" y="942"/>
                    </a:lnTo>
                    <a:lnTo>
                      <a:pt x="777" y="943"/>
                    </a:lnTo>
                    <a:lnTo>
                      <a:pt x="776" y="943"/>
                    </a:lnTo>
                    <a:lnTo>
                      <a:pt x="775" y="943"/>
                    </a:lnTo>
                    <a:lnTo>
                      <a:pt x="776" y="944"/>
                    </a:lnTo>
                    <a:lnTo>
                      <a:pt x="778" y="945"/>
                    </a:lnTo>
                    <a:lnTo>
                      <a:pt x="777" y="946"/>
                    </a:lnTo>
                    <a:lnTo>
                      <a:pt x="776" y="947"/>
                    </a:lnTo>
                    <a:lnTo>
                      <a:pt x="775" y="947"/>
                    </a:lnTo>
                    <a:lnTo>
                      <a:pt x="775" y="950"/>
                    </a:lnTo>
                    <a:lnTo>
                      <a:pt x="775" y="951"/>
                    </a:lnTo>
                    <a:lnTo>
                      <a:pt x="776" y="951"/>
                    </a:lnTo>
                    <a:lnTo>
                      <a:pt x="778" y="950"/>
                    </a:lnTo>
                    <a:lnTo>
                      <a:pt x="780" y="951"/>
                    </a:lnTo>
                    <a:lnTo>
                      <a:pt x="781" y="951"/>
                    </a:lnTo>
                    <a:lnTo>
                      <a:pt x="782" y="952"/>
                    </a:lnTo>
                    <a:lnTo>
                      <a:pt x="782" y="954"/>
                    </a:lnTo>
                    <a:lnTo>
                      <a:pt x="783" y="956"/>
                    </a:lnTo>
                    <a:lnTo>
                      <a:pt x="782" y="956"/>
                    </a:lnTo>
                    <a:lnTo>
                      <a:pt x="783" y="957"/>
                    </a:lnTo>
                    <a:lnTo>
                      <a:pt x="783" y="958"/>
                    </a:lnTo>
                    <a:lnTo>
                      <a:pt x="785" y="958"/>
                    </a:lnTo>
                    <a:lnTo>
                      <a:pt x="785" y="957"/>
                    </a:lnTo>
                    <a:lnTo>
                      <a:pt x="787" y="954"/>
                    </a:lnTo>
                    <a:lnTo>
                      <a:pt x="788" y="954"/>
                    </a:lnTo>
                    <a:lnTo>
                      <a:pt x="788" y="956"/>
                    </a:lnTo>
                    <a:lnTo>
                      <a:pt x="788" y="957"/>
                    </a:lnTo>
                    <a:lnTo>
                      <a:pt x="784" y="960"/>
                    </a:lnTo>
                    <a:lnTo>
                      <a:pt x="784" y="961"/>
                    </a:lnTo>
                    <a:lnTo>
                      <a:pt x="784" y="964"/>
                    </a:lnTo>
                    <a:lnTo>
                      <a:pt x="784" y="966"/>
                    </a:lnTo>
                    <a:lnTo>
                      <a:pt x="785" y="967"/>
                    </a:lnTo>
                    <a:lnTo>
                      <a:pt x="785" y="968"/>
                    </a:lnTo>
                    <a:lnTo>
                      <a:pt x="785" y="970"/>
                    </a:lnTo>
                    <a:lnTo>
                      <a:pt x="784" y="970"/>
                    </a:lnTo>
                    <a:lnTo>
                      <a:pt x="783" y="970"/>
                    </a:lnTo>
                    <a:lnTo>
                      <a:pt x="782" y="971"/>
                    </a:lnTo>
                    <a:lnTo>
                      <a:pt x="782" y="973"/>
                    </a:lnTo>
                    <a:lnTo>
                      <a:pt x="782" y="974"/>
                    </a:lnTo>
                    <a:lnTo>
                      <a:pt x="783" y="975"/>
                    </a:lnTo>
                    <a:lnTo>
                      <a:pt x="783" y="977"/>
                    </a:lnTo>
                    <a:lnTo>
                      <a:pt x="784" y="977"/>
                    </a:lnTo>
                    <a:lnTo>
                      <a:pt x="784" y="978"/>
                    </a:lnTo>
                    <a:lnTo>
                      <a:pt x="784" y="979"/>
                    </a:lnTo>
                    <a:lnTo>
                      <a:pt x="783" y="981"/>
                    </a:lnTo>
                    <a:lnTo>
                      <a:pt x="783" y="984"/>
                    </a:lnTo>
                    <a:lnTo>
                      <a:pt x="784" y="985"/>
                    </a:lnTo>
                    <a:lnTo>
                      <a:pt x="785" y="989"/>
                    </a:lnTo>
                    <a:lnTo>
                      <a:pt x="785" y="991"/>
                    </a:lnTo>
                    <a:lnTo>
                      <a:pt x="785" y="994"/>
                    </a:lnTo>
                    <a:lnTo>
                      <a:pt x="785" y="995"/>
                    </a:lnTo>
                    <a:lnTo>
                      <a:pt x="788" y="1000"/>
                    </a:lnTo>
                    <a:lnTo>
                      <a:pt x="787" y="1001"/>
                    </a:lnTo>
                    <a:lnTo>
                      <a:pt x="787" y="1002"/>
                    </a:lnTo>
                    <a:lnTo>
                      <a:pt x="788" y="1003"/>
                    </a:lnTo>
                    <a:lnTo>
                      <a:pt x="788" y="1005"/>
                    </a:lnTo>
                    <a:lnTo>
                      <a:pt x="790" y="1007"/>
                    </a:lnTo>
                    <a:lnTo>
                      <a:pt x="789" y="1008"/>
                    </a:lnTo>
                    <a:lnTo>
                      <a:pt x="788" y="1009"/>
                    </a:lnTo>
                    <a:lnTo>
                      <a:pt x="791" y="1012"/>
                    </a:lnTo>
                    <a:lnTo>
                      <a:pt x="792" y="1013"/>
                    </a:lnTo>
                    <a:lnTo>
                      <a:pt x="792" y="1014"/>
                    </a:lnTo>
                    <a:lnTo>
                      <a:pt x="792" y="1015"/>
                    </a:lnTo>
                    <a:lnTo>
                      <a:pt x="794" y="1015"/>
                    </a:lnTo>
                    <a:lnTo>
                      <a:pt x="795" y="1015"/>
                    </a:lnTo>
                    <a:lnTo>
                      <a:pt x="795" y="1016"/>
                    </a:lnTo>
                    <a:lnTo>
                      <a:pt x="795" y="1017"/>
                    </a:lnTo>
                    <a:lnTo>
                      <a:pt x="795" y="1021"/>
                    </a:lnTo>
                    <a:lnTo>
                      <a:pt x="794" y="1022"/>
                    </a:lnTo>
                    <a:lnTo>
                      <a:pt x="792" y="1023"/>
                    </a:lnTo>
                    <a:lnTo>
                      <a:pt x="791" y="1024"/>
                    </a:lnTo>
                    <a:lnTo>
                      <a:pt x="791" y="1026"/>
                    </a:lnTo>
                    <a:lnTo>
                      <a:pt x="794" y="1026"/>
                    </a:lnTo>
                    <a:lnTo>
                      <a:pt x="796" y="1024"/>
                    </a:lnTo>
                    <a:lnTo>
                      <a:pt x="798" y="1023"/>
                    </a:lnTo>
                    <a:lnTo>
                      <a:pt x="799" y="1022"/>
                    </a:lnTo>
                    <a:lnTo>
                      <a:pt x="800" y="1019"/>
                    </a:lnTo>
                    <a:lnTo>
                      <a:pt x="802" y="1019"/>
                    </a:lnTo>
                    <a:lnTo>
                      <a:pt x="803" y="1020"/>
                    </a:lnTo>
                    <a:lnTo>
                      <a:pt x="804" y="1022"/>
                    </a:lnTo>
                    <a:lnTo>
                      <a:pt x="805" y="1023"/>
                    </a:lnTo>
                    <a:lnTo>
                      <a:pt x="805" y="1024"/>
                    </a:lnTo>
                    <a:lnTo>
                      <a:pt x="805" y="1026"/>
                    </a:lnTo>
                    <a:lnTo>
                      <a:pt x="811" y="1030"/>
                    </a:lnTo>
                    <a:lnTo>
                      <a:pt x="811" y="1031"/>
                    </a:lnTo>
                    <a:lnTo>
                      <a:pt x="811" y="1034"/>
                    </a:lnTo>
                    <a:lnTo>
                      <a:pt x="812" y="1036"/>
                    </a:lnTo>
                    <a:lnTo>
                      <a:pt x="813" y="1038"/>
                    </a:lnTo>
                    <a:lnTo>
                      <a:pt x="816" y="1040"/>
                    </a:lnTo>
                    <a:lnTo>
                      <a:pt x="814" y="1033"/>
                    </a:lnTo>
                    <a:lnTo>
                      <a:pt x="811" y="1021"/>
                    </a:lnTo>
                    <a:lnTo>
                      <a:pt x="810" y="1020"/>
                    </a:lnTo>
                    <a:lnTo>
                      <a:pt x="810" y="1017"/>
                    </a:lnTo>
                    <a:lnTo>
                      <a:pt x="810" y="1016"/>
                    </a:lnTo>
                    <a:lnTo>
                      <a:pt x="811" y="1017"/>
                    </a:lnTo>
                    <a:lnTo>
                      <a:pt x="811" y="1016"/>
                    </a:lnTo>
                    <a:lnTo>
                      <a:pt x="811" y="1015"/>
                    </a:lnTo>
                    <a:lnTo>
                      <a:pt x="810" y="1014"/>
                    </a:lnTo>
                    <a:lnTo>
                      <a:pt x="811" y="1013"/>
                    </a:lnTo>
                    <a:lnTo>
                      <a:pt x="812" y="1012"/>
                    </a:lnTo>
                    <a:lnTo>
                      <a:pt x="813" y="1008"/>
                    </a:lnTo>
                    <a:lnTo>
                      <a:pt x="814" y="1006"/>
                    </a:lnTo>
                    <a:lnTo>
                      <a:pt x="814" y="1005"/>
                    </a:lnTo>
                    <a:lnTo>
                      <a:pt x="816" y="1005"/>
                    </a:lnTo>
                    <a:lnTo>
                      <a:pt x="817" y="1005"/>
                    </a:lnTo>
                    <a:lnTo>
                      <a:pt x="818" y="1005"/>
                    </a:lnTo>
                    <a:lnTo>
                      <a:pt x="820" y="1003"/>
                    </a:lnTo>
                    <a:lnTo>
                      <a:pt x="821" y="1005"/>
                    </a:lnTo>
                    <a:lnTo>
                      <a:pt x="821" y="1006"/>
                    </a:lnTo>
                    <a:lnTo>
                      <a:pt x="823" y="1009"/>
                    </a:lnTo>
                    <a:lnTo>
                      <a:pt x="824" y="1010"/>
                    </a:lnTo>
                    <a:lnTo>
                      <a:pt x="824" y="1012"/>
                    </a:lnTo>
                    <a:lnTo>
                      <a:pt x="825" y="1013"/>
                    </a:lnTo>
                    <a:lnTo>
                      <a:pt x="826" y="1013"/>
                    </a:lnTo>
                    <a:lnTo>
                      <a:pt x="826" y="1014"/>
                    </a:lnTo>
                    <a:lnTo>
                      <a:pt x="826" y="1015"/>
                    </a:lnTo>
                    <a:lnTo>
                      <a:pt x="826" y="1016"/>
                    </a:lnTo>
                    <a:lnTo>
                      <a:pt x="827" y="1017"/>
                    </a:lnTo>
                    <a:lnTo>
                      <a:pt x="827" y="1019"/>
                    </a:lnTo>
                    <a:lnTo>
                      <a:pt x="826" y="1020"/>
                    </a:lnTo>
                    <a:lnTo>
                      <a:pt x="827" y="1022"/>
                    </a:lnTo>
                    <a:lnTo>
                      <a:pt x="828" y="1023"/>
                    </a:lnTo>
                    <a:lnTo>
                      <a:pt x="834" y="1026"/>
                    </a:lnTo>
                    <a:lnTo>
                      <a:pt x="835" y="1026"/>
                    </a:lnTo>
                    <a:lnTo>
                      <a:pt x="837" y="1028"/>
                    </a:lnTo>
                    <a:lnTo>
                      <a:pt x="838" y="1028"/>
                    </a:lnTo>
                    <a:lnTo>
                      <a:pt x="840" y="1029"/>
                    </a:lnTo>
                    <a:lnTo>
                      <a:pt x="840" y="1030"/>
                    </a:lnTo>
                    <a:lnTo>
                      <a:pt x="841" y="1031"/>
                    </a:lnTo>
                    <a:lnTo>
                      <a:pt x="842" y="1033"/>
                    </a:lnTo>
                    <a:lnTo>
                      <a:pt x="842" y="1034"/>
                    </a:lnTo>
                    <a:lnTo>
                      <a:pt x="844" y="1034"/>
                    </a:lnTo>
                    <a:lnTo>
                      <a:pt x="847" y="1036"/>
                    </a:lnTo>
                    <a:lnTo>
                      <a:pt x="848" y="1037"/>
                    </a:lnTo>
                    <a:lnTo>
                      <a:pt x="853" y="1042"/>
                    </a:lnTo>
                    <a:lnTo>
                      <a:pt x="854" y="1042"/>
                    </a:lnTo>
                    <a:lnTo>
                      <a:pt x="853" y="1041"/>
                    </a:lnTo>
                    <a:lnTo>
                      <a:pt x="852" y="1038"/>
                    </a:lnTo>
                    <a:lnTo>
                      <a:pt x="852" y="1036"/>
                    </a:lnTo>
                    <a:lnTo>
                      <a:pt x="852" y="1035"/>
                    </a:lnTo>
                    <a:lnTo>
                      <a:pt x="849" y="1033"/>
                    </a:lnTo>
                    <a:lnTo>
                      <a:pt x="849" y="1028"/>
                    </a:lnTo>
                    <a:lnTo>
                      <a:pt x="851" y="1024"/>
                    </a:lnTo>
                    <a:lnTo>
                      <a:pt x="853" y="1021"/>
                    </a:lnTo>
                    <a:lnTo>
                      <a:pt x="855" y="1023"/>
                    </a:lnTo>
                    <a:lnTo>
                      <a:pt x="856" y="1022"/>
                    </a:lnTo>
                    <a:lnTo>
                      <a:pt x="858" y="1023"/>
                    </a:lnTo>
                    <a:lnTo>
                      <a:pt x="858" y="1024"/>
                    </a:lnTo>
                    <a:lnTo>
                      <a:pt x="856" y="1024"/>
                    </a:lnTo>
                    <a:lnTo>
                      <a:pt x="856" y="1026"/>
                    </a:lnTo>
                    <a:lnTo>
                      <a:pt x="856" y="1027"/>
                    </a:lnTo>
                    <a:lnTo>
                      <a:pt x="858" y="1027"/>
                    </a:lnTo>
                    <a:lnTo>
                      <a:pt x="858" y="1028"/>
                    </a:lnTo>
                    <a:lnTo>
                      <a:pt x="859" y="1029"/>
                    </a:lnTo>
                    <a:lnTo>
                      <a:pt x="859" y="1028"/>
                    </a:lnTo>
                    <a:lnTo>
                      <a:pt x="859" y="1027"/>
                    </a:lnTo>
                    <a:lnTo>
                      <a:pt x="859" y="1026"/>
                    </a:lnTo>
                    <a:lnTo>
                      <a:pt x="860" y="1024"/>
                    </a:lnTo>
                    <a:lnTo>
                      <a:pt x="860" y="1026"/>
                    </a:lnTo>
                    <a:lnTo>
                      <a:pt x="860" y="1028"/>
                    </a:lnTo>
                    <a:lnTo>
                      <a:pt x="861" y="1029"/>
                    </a:lnTo>
                    <a:lnTo>
                      <a:pt x="861" y="1030"/>
                    </a:lnTo>
                    <a:lnTo>
                      <a:pt x="861" y="1031"/>
                    </a:lnTo>
                    <a:lnTo>
                      <a:pt x="863" y="1031"/>
                    </a:lnTo>
                    <a:lnTo>
                      <a:pt x="864" y="1033"/>
                    </a:lnTo>
                    <a:lnTo>
                      <a:pt x="864" y="1034"/>
                    </a:lnTo>
                    <a:lnTo>
                      <a:pt x="863" y="1035"/>
                    </a:lnTo>
                    <a:lnTo>
                      <a:pt x="861" y="1036"/>
                    </a:lnTo>
                    <a:lnTo>
                      <a:pt x="860" y="1037"/>
                    </a:lnTo>
                    <a:lnTo>
                      <a:pt x="860" y="1035"/>
                    </a:lnTo>
                    <a:lnTo>
                      <a:pt x="859" y="1035"/>
                    </a:lnTo>
                    <a:lnTo>
                      <a:pt x="858" y="1036"/>
                    </a:lnTo>
                    <a:lnTo>
                      <a:pt x="859" y="1037"/>
                    </a:lnTo>
                    <a:lnTo>
                      <a:pt x="858" y="1040"/>
                    </a:lnTo>
                    <a:lnTo>
                      <a:pt x="860" y="1038"/>
                    </a:lnTo>
                    <a:lnTo>
                      <a:pt x="861" y="1040"/>
                    </a:lnTo>
                    <a:lnTo>
                      <a:pt x="861" y="1041"/>
                    </a:lnTo>
                    <a:lnTo>
                      <a:pt x="860" y="1043"/>
                    </a:lnTo>
                    <a:lnTo>
                      <a:pt x="860" y="1044"/>
                    </a:lnTo>
                    <a:lnTo>
                      <a:pt x="861" y="1044"/>
                    </a:lnTo>
                    <a:lnTo>
                      <a:pt x="862" y="1044"/>
                    </a:lnTo>
                    <a:lnTo>
                      <a:pt x="862" y="1043"/>
                    </a:lnTo>
                    <a:lnTo>
                      <a:pt x="863" y="1043"/>
                    </a:lnTo>
                    <a:lnTo>
                      <a:pt x="863" y="1042"/>
                    </a:lnTo>
                    <a:lnTo>
                      <a:pt x="863" y="1040"/>
                    </a:lnTo>
                    <a:lnTo>
                      <a:pt x="864" y="1038"/>
                    </a:lnTo>
                    <a:lnTo>
                      <a:pt x="864" y="1037"/>
                    </a:lnTo>
                    <a:lnTo>
                      <a:pt x="866" y="1038"/>
                    </a:lnTo>
                    <a:lnTo>
                      <a:pt x="866" y="1041"/>
                    </a:lnTo>
                    <a:lnTo>
                      <a:pt x="864" y="1044"/>
                    </a:lnTo>
                    <a:lnTo>
                      <a:pt x="864" y="1047"/>
                    </a:lnTo>
                    <a:lnTo>
                      <a:pt x="866" y="1047"/>
                    </a:lnTo>
                    <a:lnTo>
                      <a:pt x="866" y="1048"/>
                    </a:lnTo>
                    <a:lnTo>
                      <a:pt x="867" y="1050"/>
                    </a:lnTo>
                    <a:lnTo>
                      <a:pt x="867" y="1051"/>
                    </a:lnTo>
                    <a:lnTo>
                      <a:pt x="866" y="1052"/>
                    </a:lnTo>
                    <a:lnTo>
                      <a:pt x="864" y="1056"/>
                    </a:lnTo>
                    <a:lnTo>
                      <a:pt x="864" y="1058"/>
                    </a:lnTo>
                    <a:lnTo>
                      <a:pt x="863" y="1061"/>
                    </a:lnTo>
                    <a:lnTo>
                      <a:pt x="862" y="1064"/>
                    </a:lnTo>
                    <a:lnTo>
                      <a:pt x="862" y="1065"/>
                    </a:lnTo>
                    <a:lnTo>
                      <a:pt x="862" y="1066"/>
                    </a:lnTo>
                    <a:lnTo>
                      <a:pt x="861" y="1066"/>
                    </a:lnTo>
                    <a:lnTo>
                      <a:pt x="860" y="1066"/>
                    </a:lnTo>
                    <a:lnTo>
                      <a:pt x="859" y="1066"/>
                    </a:lnTo>
                    <a:lnTo>
                      <a:pt x="859" y="1068"/>
                    </a:lnTo>
                    <a:lnTo>
                      <a:pt x="860" y="1069"/>
                    </a:lnTo>
                    <a:lnTo>
                      <a:pt x="861" y="1069"/>
                    </a:lnTo>
                    <a:lnTo>
                      <a:pt x="860" y="1070"/>
                    </a:lnTo>
                    <a:lnTo>
                      <a:pt x="860" y="1071"/>
                    </a:lnTo>
                    <a:lnTo>
                      <a:pt x="860" y="1072"/>
                    </a:lnTo>
                    <a:lnTo>
                      <a:pt x="860" y="1073"/>
                    </a:lnTo>
                    <a:lnTo>
                      <a:pt x="860" y="1075"/>
                    </a:lnTo>
                    <a:lnTo>
                      <a:pt x="859" y="1080"/>
                    </a:lnTo>
                    <a:lnTo>
                      <a:pt x="858" y="1083"/>
                    </a:lnTo>
                    <a:lnTo>
                      <a:pt x="860" y="1085"/>
                    </a:lnTo>
                    <a:lnTo>
                      <a:pt x="860" y="1086"/>
                    </a:lnTo>
                    <a:lnTo>
                      <a:pt x="860" y="1087"/>
                    </a:lnTo>
                    <a:lnTo>
                      <a:pt x="860" y="1089"/>
                    </a:lnTo>
                    <a:lnTo>
                      <a:pt x="861" y="1090"/>
                    </a:lnTo>
                    <a:lnTo>
                      <a:pt x="861" y="1089"/>
                    </a:lnTo>
                    <a:lnTo>
                      <a:pt x="862" y="1090"/>
                    </a:lnTo>
                    <a:lnTo>
                      <a:pt x="861" y="1092"/>
                    </a:lnTo>
                    <a:lnTo>
                      <a:pt x="860" y="1093"/>
                    </a:lnTo>
                    <a:lnTo>
                      <a:pt x="859" y="1094"/>
                    </a:lnTo>
                    <a:lnTo>
                      <a:pt x="859" y="1101"/>
                    </a:lnTo>
                    <a:lnTo>
                      <a:pt x="861" y="1104"/>
                    </a:lnTo>
                    <a:lnTo>
                      <a:pt x="862" y="1107"/>
                    </a:lnTo>
                    <a:lnTo>
                      <a:pt x="862" y="1108"/>
                    </a:lnTo>
                    <a:lnTo>
                      <a:pt x="861" y="1108"/>
                    </a:lnTo>
                    <a:lnTo>
                      <a:pt x="858" y="1108"/>
                    </a:lnTo>
                    <a:lnTo>
                      <a:pt x="860" y="1108"/>
                    </a:lnTo>
                    <a:lnTo>
                      <a:pt x="861" y="1110"/>
                    </a:lnTo>
                    <a:lnTo>
                      <a:pt x="861" y="1111"/>
                    </a:lnTo>
                    <a:lnTo>
                      <a:pt x="861" y="1112"/>
                    </a:lnTo>
                    <a:lnTo>
                      <a:pt x="862" y="1113"/>
                    </a:lnTo>
                    <a:lnTo>
                      <a:pt x="863" y="1113"/>
                    </a:lnTo>
                    <a:lnTo>
                      <a:pt x="866" y="1113"/>
                    </a:lnTo>
                    <a:lnTo>
                      <a:pt x="866" y="1112"/>
                    </a:lnTo>
                    <a:lnTo>
                      <a:pt x="867" y="1112"/>
                    </a:lnTo>
                    <a:lnTo>
                      <a:pt x="869" y="1114"/>
                    </a:lnTo>
                    <a:lnTo>
                      <a:pt x="870" y="1114"/>
                    </a:lnTo>
                    <a:lnTo>
                      <a:pt x="871" y="1115"/>
                    </a:lnTo>
                    <a:lnTo>
                      <a:pt x="871" y="1118"/>
                    </a:lnTo>
                    <a:lnTo>
                      <a:pt x="874" y="1119"/>
                    </a:lnTo>
                    <a:lnTo>
                      <a:pt x="876" y="1121"/>
                    </a:lnTo>
                    <a:lnTo>
                      <a:pt x="876" y="1122"/>
                    </a:lnTo>
                    <a:lnTo>
                      <a:pt x="877" y="1124"/>
                    </a:lnTo>
                    <a:lnTo>
                      <a:pt x="877" y="1126"/>
                    </a:lnTo>
                    <a:lnTo>
                      <a:pt x="878" y="1127"/>
                    </a:lnTo>
                    <a:lnTo>
                      <a:pt x="878" y="1129"/>
                    </a:lnTo>
                    <a:lnTo>
                      <a:pt x="878" y="1131"/>
                    </a:lnTo>
                    <a:lnTo>
                      <a:pt x="878" y="1132"/>
                    </a:lnTo>
                    <a:lnTo>
                      <a:pt x="880" y="1132"/>
                    </a:lnTo>
                    <a:lnTo>
                      <a:pt x="880" y="1133"/>
                    </a:lnTo>
                    <a:lnTo>
                      <a:pt x="881" y="1134"/>
                    </a:lnTo>
                    <a:lnTo>
                      <a:pt x="884" y="1135"/>
                    </a:lnTo>
                    <a:lnTo>
                      <a:pt x="885" y="1135"/>
                    </a:lnTo>
                    <a:lnTo>
                      <a:pt x="885" y="1136"/>
                    </a:lnTo>
                    <a:lnTo>
                      <a:pt x="885" y="1138"/>
                    </a:lnTo>
                    <a:lnTo>
                      <a:pt x="887" y="1138"/>
                    </a:lnTo>
                    <a:lnTo>
                      <a:pt x="888" y="1138"/>
                    </a:lnTo>
                    <a:lnTo>
                      <a:pt x="888" y="1139"/>
                    </a:lnTo>
                    <a:lnTo>
                      <a:pt x="889" y="1139"/>
                    </a:lnTo>
                    <a:lnTo>
                      <a:pt x="889" y="1140"/>
                    </a:lnTo>
                    <a:lnTo>
                      <a:pt x="889" y="1141"/>
                    </a:lnTo>
                    <a:lnTo>
                      <a:pt x="892" y="1146"/>
                    </a:lnTo>
                    <a:lnTo>
                      <a:pt x="894" y="1148"/>
                    </a:lnTo>
                    <a:lnTo>
                      <a:pt x="895" y="1149"/>
                    </a:lnTo>
                    <a:lnTo>
                      <a:pt x="895" y="1150"/>
                    </a:lnTo>
                    <a:lnTo>
                      <a:pt x="896" y="1149"/>
                    </a:lnTo>
                    <a:lnTo>
                      <a:pt x="897" y="1149"/>
                    </a:lnTo>
                    <a:lnTo>
                      <a:pt x="898" y="1149"/>
                    </a:lnTo>
                    <a:lnTo>
                      <a:pt x="899" y="1150"/>
                    </a:lnTo>
                    <a:lnTo>
                      <a:pt x="901" y="1152"/>
                    </a:lnTo>
                    <a:lnTo>
                      <a:pt x="901" y="1153"/>
                    </a:lnTo>
                    <a:lnTo>
                      <a:pt x="902" y="1153"/>
                    </a:lnTo>
                    <a:lnTo>
                      <a:pt x="901" y="1154"/>
                    </a:lnTo>
                    <a:lnTo>
                      <a:pt x="901" y="1155"/>
                    </a:lnTo>
                    <a:lnTo>
                      <a:pt x="901" y="1156"/>
                    </a:lnTo>
                    <a:lnTo>
                      <a:pt x="901" y="1157"/>
                    </a:lnTo>
                    <a:lnTo>
                      <a:pt x="902" y="1157"/>
                    </a:lnTo>
                    <a:lnTo>
                      <a:pt x="903" y="1157"/>
                    </a:lnTo>
                    <a:lnTo>
                      <a:pt x="903" y="1156"/>
                    </a:lnTo>
                    <a:lnTo>
                      <a:pt x="903" y="1155"/>
                    </a:lnTo>
                    <a:lnTo>
                      <a:pt x="903" y="1154"/>
                    </a:lnTo>
                    <a:lnTo>
                      <a:pt x="904" y="1154"/>
                    </a:lnTo>
                    <a:lnTo>
                      <a:pt x="904" y="1155"/>
                    </a:lnTo>
                    <a:lnTo>
                      <a:pt x="906" y="1155"/>
                    </a:lnTo>
                    <a:lnTo>
                      <a:pt x="908" y="1156"/>
                    </a:lnTo>
                    <a:lnTo>
                      <a:pt x="909" y="1157"/>
                    </a:lnTo>
                    <a:lnTo>
                      <a:pt x="910" y="1159"/>
                    </a:lnTo>
                    <a:lnTo>
                      <a:pt x="910" y="1156"/>
                    </a:lnTo>
                    <a:lnTo>
                      <a:pt x="910" y="1155"/>
                    </a:lnTo>
                    <a:lnTo>
                      <a:pt x="909" y="1154"/>
                    </a:lnTo>
                    <a:lnTo>
                      <a:pt x="909" y="1153"/>
                    </a:lnTo>
                    <a:lnTo>
                      <a:pt x="906" y="1152"/>
                    </a:lnTo>
                    <a:lnTo>
                      <a:pt x="906" y="1150"/>
                    </a:lnTo>
                    <a:lnTo>
                      <a:pt x="908" y="1149"/>
                    </a:lnTo>
                    <a:lnTo>
                      <a:pt x="909" y="1150"/>
                    </a:lnTo>
                    <a:lnTo>
                      <a:pt x="910" y="1150"/>
                    </a:lnTo>
                    <a:lnTo>
                      <a:pt x="911" y="1152"/>
                    </a:lnTo>
                    <a:lnTo>
                      <a:pt x="912" y="1153"/>
                    </a:lnTo>
                    <a:lnTo>
                      <a:pt x="913" y="1154"/>
                    </a:lnTo>
                    <a:lnTo>
                      <a:pt x="912" y="1155"/>
                    </a:lnTo>
                    <a:lnTo>
                      <a:pt x="912" y="1156"/>
                    </a:lnTo>
                    <a:lnTo>
                      <a:pt x="913" y="1157"/>
                    </a:lnTo>
                    <a:lnTo>
                      <a:pt x="913" y="1156"/>
                    </a:lnTo>
                    <a:lnTo>
                      <a:pt x="915" y="1156"/>
                    </a:lnTo>
                    <a:lnTo>
                      <a:pt x="917" y="1154"/>
                    </a:lnTo>
                    <a:lnTo>
                      <a:pt x="917" y="1156"/>
                    </a:lnTo>
                    <a:lnTo>
                      <a:pt x="917" y="1159"/>
                    </a:lnTo>
                    <a:lnTo>
                      <a:pt x="917" y="1162"/>
                    </a:lnTo>
                    <a:lnTo>
                      <a:pt x="918" y="1163"/>
                    </a:lnTo>
                    <a:lnTo>
                      <a:pt x="919" y="1164"/>
                    </a:lnTo>
                    <a:lnTo>
                      <a:pt x="920" y="1166"/>
                    </a:lnTo>
                    <a:lnTo>
                      <a:pt x="922" y="1166"/>
                    </a:lnTo>
                    <a:lnTo>
                      <a:pt x="923" y="1166"/>
                    </a:lnTo>
                    <a:lnTo>
                      <a:pt x="923" y="1164"/>
                    </a:lnTo>
                    <a:lnTo>
                      <a:pt x="923" y="1167"/>
                    </a:lnTo>
                    <a:lnTo>
                      <a:pt x="924" y="1168"/>
                    </a:lnTo>
                    <a:lnTo>
                      <a:pt x="925" y="1169"/>
                    </a:lnTo>
                    <a:lnTo>
                      <a:pt x="925" y="1170"/>
                    </a:lnTo>
                    <a:lnTo>
                      <a:pt x="925" y="1171"/>
                    </a:lnTo>
                    <a:lnTo>
                      <a:pt x="927" y="1184"/>
                    </a:lnTo>
                    <a:lnTo>
                      <a:pt x="930" y="1192"/>
                    </a:lnTo>
                    <a:lnTo>
                      <a:pt x="931" y="1194"/>
                    </a:lnTo>
                    <a:lnTo>
                      <a:pt x="933" y="1198"/>
                    </a:lnTo>
                    <a:lnTo>
                      <a:pt x="934" y="1201"/>
                    </a:lnTo>
                    <a:lnTo>
                      <a:pt x="944" y="1210"/>
                    </a:lnTo>
                    <a:lnTo>
                      <a:pt x="945" y="1210"/>
                    </a:lnTo>
                    <a:lnTo>
                      <a:pt x="946" y="1210"/>
                    </a:lnTo>
                    <a:lnTo>
                      <a:pt x="951" y="1212"/>
                    </a:lnTo>
                    <a:lnTo>
                      <a:pt x="952" y="1215"/>
                    </a:lnTo>
                    <a:lnTo>
                      <a:pt x="954" y="1217"/>
                    </a:lnTo>
                    <a:lnTo>
                      <a:pt x="954" y="1220"/>
                    </a:lnTo>
                    <a:lnTo>
                      <a:pt x="955" y="1224"/>
                    </a:lnTo>
                    <a:lnTo>
                      <a:pt x="954" y="1230"/>
                    </a:lnTo>
                    <a:lnTo>
                      <a:pt x="954" y="1231"/>
                    </a:lnTo>
                    <a:lnTo>
                      <a:pt x="958" y="1239"/>
                    </a:lnTo>
                    <a:lnTo>
                      <a:pt x="958" y="1240"/>
                    </a:lnTo>
                    <a:lnTo>
                      <a:pt x="959" y="1241"/>
                    </a:lnTo>
                    <a:lnTo>
                      <a:pt x="961" y="1243"/>
                    </a:lnTo>
                    <a:lnTo>
                      <a:pt x="961" y="1244"/>
                    </a:lnTo>
                    <a:lnTo>
                      <a:pt x="960" y="1245"/>
                    </a:lnTo>
                    <a:lnTo>
                      <a:pt x="959" y="1245"/>
                    </a:lnTo>
                    <a:lnTo>
                      <a:pt x="958" y="1244"/>
                    </a:lnTo>
                    <a:lnTo>
                      <a:pt x="956" y="1244"/>
                    </a:lnTo>
                    <a:lnTo>
                      <a:pt x="956" y="1245"/>
                    </a:lnTo>
                    <a:lnTo>
                      <a:pt x="958" y="1245"/>
                    </a:lnTo>
                    <a:lnTo>
                      <a:pt x="959" y="1246"/>
                    </a:lnTo>
                    <a:lnTo>
                      <a:pt x="960" y="1247"/>
                    </a:lnTo>
                    <a:lnTo>
                      <a:pt x="961" y="1248"/>
                    </a:lnTo>
                    <a:lnTo>
                      <a:pt x="962" y="1250"/>
                    </a:lnTo>
                    <a:lnTo>
                      <a:pt x="962" y="1251"/>
                    </a:lnTo>
                    <a:lnTo>
                      <a:pt x="963" y="1252"/>
                    </a:lnTo>
                    <a:lnTo>
                      <a:pt x="967" y="1252"/>
                    </a:lnTo>
                    <a:lnTo>
                      <a:pt x="968" y="1253"/>
                    </a:lnTo>
                    <a:lnTo>
                      <a:pt x="970" y="1254"/>
                    </a:lnTo>
                    <a:lnTo>
                      <a:pt x="972" y="1254"/>
                    </a:lnTo>
                    <a:lnTo>
                      <a:pt x="972" y="1253"/>
                    </a:lnTo>
                    <a:lnTo>
                      <a:pt x="972" y="1252"/>
                    </a:lnTo>
                    <a:lnTo>
                      <a:pt x="973" y="1252"/>
                    </a:lnTo>
                    <a:lnTo>
                      <a:pt x="973" y="1254"/>
                    </a:lnTo>
                    <a:lnTo>
                      <a:pt x="974" y="1254"/>
                    </a:lnTo>
                    <a:lnTo>
                      <a:pt x="976" y="1255"/>
                    </a:lnTo>
                    <a:lnTo>
                      <a:pt x="977" y="1257"/>
                    </a:lnTo>
                    <a:lnTo>
                      <a:pt x="977" y="1259"/>
                    </a:lnTo>
                    <a:lnTo>
                      <a:pt x="977" y="1266"/>
                    </a:lnTo>
                    <a:lnTo>
                      <a:pt x="974" y="1267"/>
                    </a:lnTo>
                    <a:lnTo>
                      <a:pt x="973" y="1268"/>
                    </a:lnTo>
                    <a:lnTo>
                      <a:pt x="973" y="1269"/>
                    </a:lnTo>
                    <a:lnTo>
                      <a:pt x="974" y="1268"/>
                    </a:lnTo>
                    <a:lnTo>
                      <a:pt x="977" y="1267"/>
                    </a:lnTo>
                    <a:lnTo>
                      <a:pt x="979" y="1267"/>
                    </a:lnTo>
                    <a:lnTo>
                      <a:pt x="980" y="1268"/>
                    </a:lnTo>
                    <a:lnTo>
                      <a:pt x="979" y="1269"/>
                    </a:lnTo>
                    <a:lnTo>
                      <a:pt x="977" y="1269"/>
                    </a:lnTo>
                    <a:lnTo>
                      <a:pt x="977" y="1271"/>
                    </a:lnTo>
                    <a:lnTo>
                      <a:pt x="979" y="1271"/>
                    </a:lnTo>
                    <a:lnTo>
                      <a:pt x="979" y="1272"/>
                    </a:lnTo>
                    <a:lnTo>
                      <a:pt x="977" y="1273"/>
                    </a:lnTo>
                    <a:lnTo>
                      <a:pt x="975" y="1274"/>
                    </a:lnTo>
                    <a:lnTo>
                      <a:pt x="974" y="1275"/>
                    </a:lnTo>
                    <a:lnTo>
                      <a:pt x="973" y="1278"/>
                    </a:lnTo>
                    <a:lnTo>
                      <a:pt x="974" y="1281"/>
                    </a:lnTo>
                    <a:lnTo>
                      <a:pt x="973" y="1283"/>
                    </a:lnTo>
                    <a:lnTo>
                      <a:pt x="972" y="1283"/>
                    </a:lnTo>
                    <a:lnTo>
                      <a:pt x="972" y="1285"/>
                    </a:lnTo>
                    <a:lnTo>
                      <a:pt x="973" y="1286"/>
                    </a:lnTo>
                    <a:lnTo>
                      <a:pt x="974" y="1287"/>
                    </a:lnTo>
                    <a:lnTo>
                      <a:pt x="973" y="1287"/>
                    </a:lnTo>
                    <a:lnTo>
                      <a:pt x="974" y="1288"/>
                    </a:lnTo>
                    <a:lnTo>
                      <a:pt x="974" y="1289"/>
                    </a:lnTo>
                    <a:lnTo>
                      <a:pt x="975" y="1290"/>
                    </a:lnTo>
                    <a:lnTo>
                      <a:pt x="977" y="1290"/>
                    </a:lnTo>
                    <a:lnTo>
                      <a:pt x="979" y="1295"/>
                    </a:lnTo>
                    <a:lnTo>
                      <a:pt x="979" y="1297"/>
                    </a:lnTo>
                    <a:lnTo>
                      <a:pt x="979" y="1300"/>
                    </a:lnTo>
                    <a:lnTo>
                      <a:pt x="979" y="1301"/>
                    </a:lnTo>
                    <a:lnTo>
                      <a:pt x="979" y="1302"/>
                    </a:lnTo>
                    <a:lnTo>
                      <a:pt x="977" y="1302"/>
                    </a:lnTo>
                    <a:lnTo>
                      <a:pt x="977" y="1303"/>
                    </a:lnTo>
                    <a:lnTo>
                      <a:pt x="977" y="1306"/>
                    </a:lnTo>
                    <a:lnTo>
                      <a:pt x="980" y="1302"/>
                    </a:lnTo>
                    <a:lnTo>
                      <a:pt x="981" y="1302"/>
                    </a:lnTo>
                    <a:lnTo>
                      <a:pt x="981" y="1300"/>
                    </a:lnTo>
                    <a:lnTo>
                      <a:pt x="981" y="1299"/>
                    </a:lnTo>
                    <a:lnTo>
                      <a:pt x="982" y="1297"/>
                    </a:lnTo>
                    <a:lnTo>
                      <a:pt x="982" y="1296"/>
                    </a:lnTo>
                    <a:lnTo>
                      <a:pt x="981" y="1295"/>
                    </a:lnTo>
                    <a:lnTo>
                      <a:pt x="982" y="1296"/>
                    </a:lnTo>
                    <a:lnTo>
                      <a:pt x="982" y="1297"/>
                    </a:lnTo>
                    <a:lnTo>
                      <a:pt x="982" y="1300"/>
                    </a:lnTo>
                    <a:lnTo>
                      <a:pt x="983" y="1303"/>
                    </a:lnTo>
                    <a:lnTo>
                      <a:pt x="984" y="1304"/>
                    </a:lnTo>
                    <a:lnTo>
                      <a:pt x="986" y="1306"/>
                    </a:lnTo>
                    <a:lnTo>
                      <a:pt x="988" y="1306"/>
                    </a:lnTo>
                    <a:lnTo>
                      <a:pt x="989" y="1306"/>
                    </a:lnTo>
                    <a:lnTo>
                      <a:pt x="989" y="1307"/>
                    </a:lnTo>
                    <a:lnTo>
                      <a:pt x="988" y="1308"/>
                    </a:lnTo>
                    <a:lnTo>
                      <a:pt x="987" y="1309"/>
                    </a:lnTo>
                    <a:lnTo>
                      <a:pt x="986" y="1313"/>
                    </a:lnTo>
                    <a:lnTo>
                      <a:pt x="984" y="1313"/>
                    </a:lnTo>
                    <a:lnTo>
                      <a:pt x="984" y="1314"/>
                    </a:lnTo>
                    <a:lnTo>
                      <a:pt x="983" y="1317"/>
                    </a:lnTo>
                    <a:lnTo>
                      <a:pt x="982" y="1317"/>
                    </a:lnTo>
                    <a:lnTo>
                      <a:pt x="981" y="1321"/>
                    </a:lnTo>
                    <a:lnTo>
                      <a:pt x="981" y="1322"/>
                    </a:lnTo>
                    <a:lnTo>
                      <a:pt x="977" y="1329"/>
                    </a:lnTo>
                    <a:lnTo>
                      <a:pt x="976" y="1331"/>
                    </a:lnTo>
                    <a:lnTo>
                      <a:pt x="976" y="1332"/>
                    </a:lnTo>
                    <a:lnTo>
                      <a:pt x="976" y="1334"/>
                    </a:lnTo>
                    <a:lnTo>
                      <a:pt x="977" y="1335"/>
                    </a:lnTo>
                    <a:lnTo>
                      <a:pt x="977" y="1336"/>
                    </a:lnTo>
                    <a:lnTo>
                      <a:pt x="979" y="1336"/>
                    </a:lnTo>
                    <a:lnTo>
                      <a:pt x="980" y="1336"/>
                    </a:lnTo>
                    <a:lnTo>
                      <a:pt x="980" y="1337"/>
                    </a:lnTo>
                    <a:lnTo>
                      <a:pt x="979" y="1339"/>
                    </a:lnTo>
                    <a:lnTo>
                      <a:pt x="977" y="1342"/>
                    </a:lnTo>
                    <a:lnTo>
                      <a:pt x="975" y="1356"/>
                    </a:lnTo>
                    <a:lnTo>
                      <a:pt x="975" y="1357"/>
                    </a:lnTo>
                    <a:lnTo>
                      <a:pt x="976" y="1358"/>
                    </a:lnTo>
                    <a:lnTo>
                      <a:pt x="977" y="1358"/>
                    </a:lnTo>
                    <a:lnTo>
                      <a:pt x="976" y="1362"/>
                    </a:lnTo>
                    <a:lnTo>
                      <a:pt x="976" y="1363"/>
                    </a:lnTo>
                    <a:lnTo>
                      <a:pt x="976" y="1365"/>
                    </a:lnTo>
                    <a:lnTo>
                      <a:pt x="976" y="1366"/>
                    </a:lnTo>
                    <a:lnTo>
                      <a:pt x="977" y="1366"/>
                    </a:lnTo>
                    <a:lnTo>
                      <a:pt x="976" y="1367"/>
                    </a:lnTo>
                    <a:lnTo>
                      <a:pt x="976" y="1369"/>
                    </a:lnTo>
                    <a:lnTo>
                      <a:pt x="975" y="1370"/>
                    </a:lnTo>
                    <a:lnTo>
                      <a:pt x="975" y="1371"/>
                    </a:lnTo>
                    <a:lnTo>
                      <a:pt x="975" y="1373"/>
                    </a:lnTo>
                    <a:lnTo>
                      <a:pt x="975" y="1376"/>
                    </a:lnTo>
                    <a:lnTo>
                      <a:pt x="977" y="1385"/>
                    </a:lnTo>
                    <a:lnTo>
                      <a:pt x="977" y="1387"/>
                    </a:lnTo>
                    <a:lnTo>
                      <a:pt x="975" y="1388"/>
                    </a:lnTo>
                    <a:lnTo>
                      <a:pt x="974" y="1387"/>
                    </a:lnTo>
                    <a:lnTo>
                      <a:pt x="970" y="1387"/>
                    </a:lnTo>
                    <a:lnTo>
                      <a:pt x="968" y="1388"/>
                    </a:lnTo>
                    <a:lnTo>
                      <a:pt x="967" y="1391"/>
                    </a:lnTo>
                    <a:lnTo>
                      <a:pt x="966" y="1391"/>
                    </a:lnTo>
                    <a:lnTo>
                      <a:pt x="965" y="1392"/>
                    </a:lnTo>
                    <a:lnTo>
                      <a:pt x="965" y="1394"/>
                    </a:lnTo>
                    <a:lnTo>
                      <a:pt x="966" y="1394"/>
                    </a:lnTo>
                    <a:lnTo>
                      <a:pt x="967" y="1395"/>
                    </a:lnTo>
                    <a:lnTo>
                      <a:pt x="968" y="1395"/>
                    </a:lnTo>
                    <a:lnTo>
                      <a:pt x="969" y="1394"/>
                    </a:lnTo>
                    <a:lnTo>
                      <a:pt x="969" y="1395"/>
                    </a:lnTo>
                    <a:lnTo>
                      <a:pt x="969" y="1398"/>
                    </a:lnTo>
                    <a:lnTo>
                      <a:pt x="968" y="1399"/>
                    </a:lnTo>
                    <a:lnTo>
                      <a:pt x="967" y="1399"/>
                    </a:lnTo>
                    <a:lnTo>
                      <a:pt x="966" y="1400"/>
                    </a:lnTo>
                    <a:lnTo>
                      <a:pt x="965" y="1401"/>
                    </a:lnTo>
                    <a:lnTo>
                      <a:pt x="966" y="1402"/>
                    </a:lnTo>
                    <a:lnTo>
                      <a:pt x="966" y="1404"/>
                    </a:lnTo>
                    <a:lnTo>
                      <a:pt x="967" y="1405"/>
                    </a:lnTo>
                    <a:lnTo>
                      <a:pt x="968" y="1405"/>
                    </a:lnTo>
                    <a:lnTo>
                      <a:pt x="970" y="1406"/>
                    </a:lnTo>
                    <a:lnTo>
                      <a:pt x="972" y="1407"/>
                    </a:lnTo>
                    <a:lnTo>
                      <a:pt x="972" y="1408"/>
                    </a:lnTo>
                    <a:lnTo>
                      <a:pt x="972" y="1412"/>
                    </a:lnTo>
                    <a:lnTo>
                      <a:pt x="972" y="1414"/>
                    </a:lnTo>
                    <a:lnTo>
                      <a:pt x="973" y="1415"/>
                    </a:lnTo>
                    <a:lnTo>
                      <a:pt x="974" y="1415"/>
                    </a:lnTo>
                    <a:lnTo>
                      <a:pt x="975" y="1415"/>
                    </a:lnTo>
                    <a:lnTo>
                      <a:pt x="975" y="1416"/>
                    </a:lnTo>
                    <a:lnTo>
                      <a:pt x="976" y="1416"/>
                    </a:lnTo>
                    <a:lnTo>
                      <a:pt x="976" y="1418"/>
                    </a:lnTo>
                    <a:lnTo>
                      <a:pt x="976" y="1420"/>
                    </a:lnTo>
                    <a:lnTo>
                      <a:pt x="976" y="1421"/>
                    </a:lnTo>
                    <a:lnTo>
                      <a:pt x="977" y="1423"/>
                    </a:lnTo>
                    <a:lnTo>
                      <a:pt x="977" y="1425"/>
                    </a:lnTo>
                    <a:lnTo>
                      <a:pt x="977" y="1428"/>
                    </a:lnTo>
                    <a:lnTo>
                      <a:pt x="977" y="1429"/>
                    </a:lnTo>
                    <a:lnTo>
                      <a:pt x="977" y="1430"/>
                    </a:lnTo>
                    <a:lnTo>
                      <a:pt x="979" y="1433"/>
                    </a:lnTo>
                    <a:lnTo>
                      <a:pt x="980" y="1435"/>
                    </a:lnTo>
                    <a:lnTo>
                      <a:pt x="980" y="1436"/>
                    </a:lnTo>
                    <a:lnTo>
                      <a:pt x="982" y="1439"/>
                    </a:lnTo>
                    <a:lnTo>
                      <a:pt x="982" y="1440"/>
                    </a:lnTo>
                    <a:lnTo>
                      <a:pt x="982" y="1441"/>
                    </a:lnTo>
                    <a:lnTo>
                      <a:pt x="981" y="1442"/>
                    </a:lnTo>
                    <a:lnTo>
                      <a:pt x="982" y="1442"/>
                    </a:lnTo>
                    <a:lnTo>
                      <a:pt x="983" y="1442"/>
                    </a:lnTo>
                    <a:lnTo>
                      <a:pt x="983" y="1441"/>
                    </a:lnTo>
                    <a:lnTo>
                      <a:pt x="984" y="1441"/>
                    </a:lnTo>
                    <a:lnTo>
                      <a:pt x="984" y="1442"/>
                    </a:lnTo>
                    <a:lnTo>
                      <a:pt x="982" y="1446"/>
                    </a:lnTo>
                    <a:lnTo>
                      <a:pt x="982" y="1447"/>
                    </a:lnTo>
                    <a:lnTo>
                      <a:pt x="982" y="1451"/>
                    </a:lnTo>
                    <a:lnTo>
                      <a:pt x="981" y="1449"/>
                    </a:lnTo>
                    <a:lnTo>
                      <a:pt x="980" y="1450"/>
                    </a:lnTo>
                    <a:lnTo>
                      <a:pt x="980" y="1451"/>
                    </a:lnTo>
                    <a:lnTo>
                      <a:pt x="980" y="1453"/>
                    </a:lnTo>
                    <a:lnTo>
                      <a:pt x="980" y="1454"/>
                    </a:lnTo>
                    <a:lnTo>
                      <a:pt x="981" y="1454"/>
                    </a:lnTo>
                    <a:lnTo>
                      <a:pt x="981" y="1453"/>
                    </a:lnTo>
                    <a:lnTo>
                      <a:pt x="982" y="1451"/>
                    </a:lnTo>
                    <a:lnTo>
                      <a:pt x="982" y="1454"/>
                    </a:lnTo>
                    <a:lnTo>
                      <a:pt x="981" y="1461"/>
                    </a:lnTo>
                    <a:lnTo>
                      <a:pt x="982" y="1462"/>
                    </a:lnTo>
                    <a:lnTo>
                      <a:pt x="983" y="1464"/>
                    </a:lnTo>
                    <a:lnTo>
                      <a:pt x="984" y="1467"/>
                    </a:lnTo>
                    <a:lnTo>
                      <a:pt x="982" y="1469"/>
                    </a:lnTo>
                    <a:lnTo>
                      <a:pt x="975" y="1472"/>
                    </a:lnTo>
                    <a:lnTo>
                      <a:pt x="973" y="1472"/>
                    </a:lnTo>
                    <a:lnTo>
                      <a:pt x="972" y="1472"/>
                    </a:lnTo>
                    <a:lnTo>
                      <a:pt x="970" y="1471"/>
                    </a:lnTo>
                    <a:lnTo>
                      <a:pt x="966" y="1472"/>
                    </a:lnTo>
                    <a:lnTo>
                      <a:pt x="965" y="1472"/>
                    </a:lnTo>
                    <a:lnTo>
                      <a:pt x="963" y="1471"/>
                    </a:lnTo>
                    <a:lnTo>
                      <a:pt x="962" y="1472"/>
                    </a:lnTo>
                    <a:lnTo>
                      <a:pt x="961" y="1474"/>
                    </a:lnTo>
                    <a:lnTo>
                      <a:pt x="961" y="1475"/>
                    </a:lnTo>
                    <a:lnTo>
                      <a:pt x="960" y="1475"/>
                    </a:lnTo>
                    <a:lnTo>
                      <a:pt x="959" y="1477"/>
                    </a:lnTo>
                    <a:lnTo>
                      <a:pt x="958" y="1477"/>
                    </a:lnTo>
                    <a:lnTo>
                      <a:pt x="956" y="1478"/>
                    </a:lnTo>
                    <a:lnTo>
                      <a:pt x="955" y="1477"/>
                    </a:lnTo>
                    <a:lnTo>
                      <a:pt x="954" y="1477"/>
                    </a:lnTo>
                    <a:lnTo>
                      <a:pt x="951" y="1476"/>
                    </a:lnTo>
                    <a:lnTo>
                      <a:pt x="949" y="1476"/>
                    </a:lnTo>
                    <a:lnTo>
                      <a:pt x="946" y="1475"/>
                    </a:lnTo>
                    <a:lnTo>
                      <a:pt x="944" y="1474"/>
                    </a:lnTo>
                    <a:lnTo>
                      <a:pt x="942" y="1474"/>
                    </a:lnTo>
                    <a:lnTo>
                      <a:pt x="941" y="1474"/>
                    </a:lnTo>
                    <a:lnTo>
                      <a:pt x="940" y="1474"/>
                    </a:lnTo>
                    <a:lnTo>
                      <a:pt x="939" y="1474"/>
                    </a:lnTo>
                    <a:lnTo>
                      <a:pt x="939" y="1475"/>
                    </a:lnTo>
                    <a:lnTo>
                      <a:pt x="937" y="1475"/>
                    </a:lnTo>
                    <a:lnTo>
                      <a:pt x="935" y="1475"/>
                    </a:lnTo>
                    <a:lnTo>
                      <a:pt x="934" y="1475"/>
                    </a:lnTo>
                    <a:lnTo>
                      <a:pt x="928" y="1471"/>
                    </a:lnTo>
                    <a:lnTo>
                      <a:pt x="927" y="1470"/>
                    </a:lnTo>
                    <a:lnTo>
                      <a:pt x="926" y="1469"/>
                    </a:lnTo>
                    <a:lnTo>
                      <a:pt x="925" y="1469"/>
                    </a:lnTo>
                    <a:lnTo>
                      <a:pt x="925" y="1470"/>
                    </a:lnTo>
                    <a:lnTo>
                      <a:pt x="924" y="1471"/>
                    </a:lnTo>
                    <a:lnTo>
                      <a:pt x="923" y="1471"/>
                    </a:lnTo>
                    <a:lnTo>
                      <a:pt x="922" y="1470"/>
                    </a:lnTo>
                    <a:lnTo>
                      <a:pt x="920" y="1469"/>
                    </a:lnTo>
                    <a:lnTo>
                      <a:pt x="922" y="1468"/>
                    </a:lnTo>
                    <a:lnTo>
                      <a:pt x="920" y="1467"/>
                    </a:lnTo>
                    <a:lnTo>
                      <a:pt x="919" y="1465"/>
                    </a:lnTo>
                    <a:lnTo>
                      <a:pt x="918" y="1465"/>
                    </a:lnTo>
                    <a:lnTo>
                      <a:pt x="916" y="1468"/>
                    </a:lnTo>
                    <a:lnTo>
                      <a:pt x="915" y="1468"/>
                    </a:lnTo>
                    <a:lnTo>
                      <a:pt x="912" y="1470"/>
                    </a:lnTo>
                    <a:lnTo>
                      <a:pt x="912" y="1471"/>
                    </a:lnTo>
                    <a:lnTo>
                      <a:pt x="911" y="1471"/>
                    </a:lnTo>
                    <a:lnTo>
                      <a:pt x="909" y="1472"/>
                    </a:lnTo>
                    <a:lnTo>
                      <a:pt x="906" y="1472"/>
                    </a:lnTo>
                    <a:lnTo>
                      <a:pt x="905" y="1472"/>
                    </a:lnTo>
                    <a:lnTo>
                      <a:pt x="904" y="1472"/>
                    </a:lnTo>
                    <a:lnTo>
                      <a:pt x="903" y="1474"/>
                    </a:lnTo>
                    <a:lnTo>
                      <a:pt x="902" y="1475"/>
                    </a:lnTo>
                    <a:lnTo>
                      <a:pt x="901" y="1475"/>
                    </a:lnTo>
                    <a:lnTo>
                      <a:pt x="899" y="1475"/>
                    </a:lnTo>
                    <a:lnTo>
                      <a:pt x="897" y="1475"/>
                    </a:lnTo>
                    <a:lnTo>
                      <a:pt x="896" y="1475"/>
                    </a:lnTo>
                    <a:lnTo>
                      <a:pt x="888" y="1477"/>
                    </a:lnTo>
                    <a:lnTo>
                      <a:pt x="888" y="1478"/>
                    </a:lnTo>
                    <a:lnTo>
                      <a:pt x="887" y="1478"/>
                    </a:lnTo>
                    <a:lnTo>
                      <a:pt x="885" y="1479"/>
                    </a:lnTo>
                    <a:lnTo>
                      <a:pt x="884" y="1479"/>
                    </a:lnTo>
                    <a:lnTo>
                      <a:pt x="883" y="1479"/>
                    </a:lnTo>
                    <a:lnTo>
                      <a:pt x="882" y="1481"/>
                    </a:lnTo>
                    <a:lnTo>
                      <a:pt x="882" y="1482"/>
                    </a:lnTo>
                    <a:lnTo>
                      <a:pt x="883" y="1484"/>
                    </a:lnTo>
                    <a:lnTo>
                      <a:pt x="883" y="1485"/>
                    </a:lnTo>
                    <a:lnTo>
                      <a:pt x="883" y="1486"/>
                    </a:lnTo>
                    <a:lnTo>
                      <a:pt x="883" y="1488"/>
                    </a:lnTo>
                    <a:lnTo>
                      <a:pt x="884" y="1488"/>
                    </a:lnTo>
                    <a:lnTo>
                      <a:pt x="885" y="1490"/>
                    </a:lnTo>
                    <a:lnTo>
                      <a:pt x="887" y="1492"/>
                    </a:lnTo>
                    <a:lnTo>
                      <a:pt x="887" y="1493"/>
                    </a:lnTo>
                    <a:lnTo>
                      <a:pt x="885" y="1495"/>
                    </a:lnTo>
                    <a:lnTo>
                      <a:pt x="885" y="1496"/>
                    </a:lnTo>
                    <a:lnTo>
                      <a:pt x="884" y="1498"/>
                    </a:lnTo>
                    <a:lnTo>
                      <a:pt x="884" y="1499"/>
                    </a:lnTo>
                    <a:lnTo>
                      <a:pt x="884" y="1500"/>
                    </a:lnTo>
                    <a:lnTo>
                      <a:pt x="884" y="1502"/>
                    </a:lnTo>
                    <a:lnTo>
                      <a:pt x="883" y="1503"/>
                    </a:lnTo>
                    <a:lnTo>
                      <a:pt x="883" y="1505"/>
                    </a:lnTo>
                    <a:lnTo>
                      <a:pt x="882" y="1505"/>
                    </a:lnTo>
                    <a:lnTo>
                      <a:pt x="882" y="1506"/>
                    </a:lnTo>
                    <a:lnTo>
                      <a:pt x="881" y="1506"/>
                    </a:lnTo>
                    <a:lnTo>
                      <a:pt x="881" y="1507"/>
                    </a:lnTo>
                    <a:lnTo>
                      <a:pt x="880" y="1506"/>
                    </a:lnTo>
                    <a:lnTo>
                      <a:pt x="878" y="1507"/>
                    </a:lnTo>
                    <a:lnTo>
                      <a:pt x="876" y="1507"/>
                    </a:lnTo>
                    <a:lnTo>
                      <a:pt x="875" y="1507"/>
                    </a:lnTo>
                    <a:lnTo>
                      <a:pt x="874" y="1507"/>
                    </a:lnTo>
                    <a:lnTo>
                      <a:pt x="873" y="1506"/>
                    </a:lnTo>
                    <a:lnTo>
                      <a:pt x="871" y="1506"/>
                    </a:lnTo>
                    <a:lnTo>
                      <a:pt x="870" y="1507"/>
                    </a:lnTo>
                    <a:lnTo>
                      <a:pt x="869" y="1510"/>
                    </a:lnTo>
                    <a:lnTo>
                      <a:pt x="868" y="1510"/>
                    </a:lnTo>
                    <a:lnTo>
                      <a:pt x="868" y="1509"/>
                    </a:lnTo>
                    <a:lnTo>
                      <a:pt x="867" y="1509"/>
                    </a:lnTo>
                    <a:lnTo>
                      <a:pt x="866" y="1509"/>
                    </a:lnTo>
                    <a:lnTo>
                      <a:pt x="866" y="1507"/>
                    </a:lnTo>
                    <a:lnTo>
                      <a:pt x="863" y="1503"/>
                    </a:lnTo>
                    <a:lnTo>
                      <a:pt x="862" y="1504"/>
                    </a:lnTo>
                    <a:lnTo>
                      <a:pt x="860" y="1505"/>
                    </a:lnTo>
                    <a:lnTo>
                      <a:pt x="859" y="1505"/>
                    </a:lnTo>
                    <a:lnTo>
                      <a:pt x="858" y="1505"/>
                    </a:lnTo>
                    <a:lnTo>
                      <a:pt x="856" y="1505"/>
                    </a:lnTo>
                    <a:lnTo>
                      <a:pt x="855" y="1506"/>
                    </a:lnTo>
                    <a:lnTo>
                      <a:pt x="854" y="1506"/>
                    </a:lnTo>
                    <a:lnTo>
                      <a:pt x="853" y="1506"/>
                    </a:lnTo>
                    <a:lnTo>
                      <a:pt x="852" y="1506"/>
                    </a:lnTo>
                    <a:lnTo>
                      <a:pt x="852" y="1507"/>
                    </a:lnTo>
                    <a:lnTo>
                      <a:pt x="849" y="1510"/>
                    </a:lnTo>
                    <a:lnTo>
                      <a:pt x="849" y="1511"/>
                    </a:lnTo>
                    <a:lnTo>
                      <a:pt x="849" y="1513"/>
                    </a:lnTo>
                    <a:lnTo>
                      <a:pt x="848" y="1514"/>
                    </a:lnTo>
                    <a:lnTo>
                      <a:pt x="847" y="1514"/>
                    </a:lnTo>
                    <a:lnTo>
                      <a:pt x="846" y="1516"/>
                    </a:lnTo>
                    <a:lnTo>
                      <a:pt x="845" y="1517"/>
                    </a:lnTo>
                    <a:lnTo>
                      <a:pt x="845" y="1518"/>
                    </a:lnTo>
                    <a:lnTo>
                      <a:pt x="844" y="1518"/>
                    </a:lnTo>
                    <a:lnTo>
                      <a:pt x="842" y="1518"/>
                    </a:lnTo>
                    <a:lnTo>
                      <a:pt x="842" y="1519"/>
                    </a:lnTo>
                    <a:lnTo>
                      <a:pt x="841" y="1519"/>
                    </a:lnTo>
                    <a:lnTo>
                      <a:pt x="840" y="1520"/>
                    </a:lnTo>
                    <a:lnTo>
                      <a:pt x="839" y="1520"/>
                    </a:lnTo>
                    <a:lnTo>
                      <a:pt x="838" y="1520"/>
                    </a:lnTo>
                    <a:lnTo>
                      <a:pt x="837" y="1519"/>
                    </a:lnTo>
                    <a:lnTo>
                      <a:pt x="837" y="1518"/>
                    </a:lnTo>
                    <a:lnTo>
                      <a:pt x="837" y="1517"/>
                    </a:lnTo>
                    <a:lnTo>
                      <a:pt x="837" y="1516"/>
                    </a:lnTo>
                    <a:lnTo>
                      <a:pt x="835" y="1516"/>
                    </a:lnTo>
                    <a:lnTo>
                      <a:pt x="835" y="1514"/>
                    </a:lnTo>
                    <a:lnTo>
                      <a:pt x="835" y="1512"/>
                    </a:lnTo>
                    <a:lnTo>
                      <a:pt x="835" y="1510"/>
                    </a:lnTo>
                    <a:lnTo>
                      <a:pt x="835" y="1509"/>
                    </a:lnTo>
                    <a:lnTo>
                      <a:pt x="837" y="1507"/>
                    </a:lnTo>
                    <a:lnTo>
                      <a:pt x="835" y="1506"/>
                    </a:lnTo>
                    <a:lnTo>
                      <a:pt x="835" y="1502"/>
                    </a:lnTo>
                    <a:lnTo>
                      <a:pt x="832" y="1498"/>
                    </a:lnTo>
                    <a:lnTo>
                      <a:pt x="830" y="1496"/>
                    </a:lnTo>
                    <a:lnTo>
                      <a:pt x="828" y="1495"/>
                    </a:lnTo>
                    <a:lnTo>
                      <a:pt x="827" y="1495"/>
                    </a:lnTo>
                    <a:lnTo>
                      <a:pt x="825" y="1495"/>
                    </a:lnTo>
                    <a:lnTo>
                      <a:pt x="823" y="1493"/>
                    </a:lnTo>
                    <a:lnTo>
                      <a:pt x="823" y="1492"/>
                    </a:lnTo>
                    <a:lnTo>
                      <a:pt x="823" y="1490"/>
                    </a:lnTo>
                    <a:lnTo>
                      <a:pt x="823" y="1488"/>
                    </a:lnTo>
                    <a:lnTo>
                      <a:pt x="823" y="1486"/>
                    </a:lnTo>
                    <a:lnTo>
                      <a:pt x="821" y="1485"/>
                    </a:lnTo>
                    <a:lnTo>
                      <a:pt x="819" y="1485"/>
                    </a:lnTo>
                    <a:lnTo>
                      <a:pt x="818" y="1485"/>
                    </a:lnTo>
                    <a:lnTo>
                      <a:pt x="817" y="1484"/>
                    </a:lnTo>
                    <a:lnTo>
                      <a:pt x="817" y="1483"/>
                    </a:lnTo>
                    <a:lnTo>
                      <a:pt x="816" y="1482"/>
                    </a:lnTo>
                    <a:lnTo>
                      <a:pt x="813" y="1481"/>
                    </a:lnTo>
                    <a:lnTo>
                      <a:pt x="812" y="1479"/>
                    </a:lnTo>
                    <a:lnTo>
                      <a:pt x="810" y="1478"/>
                    </a:lnTo>
                    <a:lnTo>
                      <a:pt x="807" y="1477"/>
                    </a:lnTo>
                    <a:lnTo>
                      <a:pt x="805" y="1477"/>
                    </a:lnTo>
                    <a:lnTo>
                      <a:pt x="799" y="1477"/>
                    </a:lnTo>
                    <a:lnTo>
                      <a:pt x="796" y="1477"/>
                    </a:lnTo>
                    <a:lnTo>
                      <a:pt x="788" y="1476"/>
                    </a:lnTo>
                    <a:lnTo>
                      <a:pt x="785" y="1475"/>
                    </a:lnTo>
                    <a:lnTo>
                      <a:pt x="783" y="1472"/>
                    </a:lnTo>
                    <a:lnTo>
                      <a:pt x="781" y="1469"/>
                    </a:lnTo>
                    <a:lnTo>
                      <a:pt x="778" y="1467"/>
                    </a:lnTo>
                    <a:lnTo>
                      <a:pt x="777" y="1465"/>
                    </a:lnTo>
                    <a:lnTo>
                      <a:pt x="775" y="1465"/>
                    </a:lnTo>
                    <a:lnTo>
                      <a:pt x="774" y="1467"/>
                    </a:lnTo>
                    <a:lnTo>
                      <a:pt x="773" y="1467"/>
                    </a:lnTo>
                    <a:lnTo>
                      <a:pt x="769" y="1465"/>
                    </a:lnTo>
                    <a:lnTo>
                      <a:pt x="768" y="1465"/>
                    </a:lnTo>
                    <a:lnTo>
                      <a:pt x="764" y="1467"/>
                    </a:lnTo>
                    <a:lnTo>
                      <a:pt x="761" y="1467"/>
                    </a:lnTo>
                    <a:lnTo>
                      <a:pt x="759" y="1468"/>
                    </a:lnTo>
                    <a:lnTo>
                      <a:pt x="757" y="1468"/>
                    </a:lnTo>
                    <a:lnTo>
                      <a:pt x="755" y="1468"/>
                    </a:lnTo>
                    <a:lnTo>
                      <a:pt x="754" y="1468"/>
                    </a:lnTo>
                    <a:lnTo>
                      <a:pt x="752" y="1468"/>
                    </a:lnTo>
                    <a:lnTo>
                      <a:pt x="749" y="1467"/>
                    </a:lnTo>
                    <a:lnTo>
                      <a:pt x="742" y="1467"/>
                    </a:lnTo>
                    <a:lnTo>
                      <a:pt x="741" y="1467"/>
                    </a:lnTo>
                    <a:lnTo>
                      <a:pt x="740" y="1467"/>
                    </a:lnTo>
                    <a:lnTo>
                      <a:pt x="739" y="1468"/>
                    </a:lnTo>
                    <a:lnTo>
                      <a:pt x="738" y="1467"/>
                    </a:lnTo>
                    <a:lnTo>
                      <a:pt x="736" y="1465"/>
                    </a:lnTo>
                    <a:lnTo>
                      <a:pt x="734" y="1465"/>
                    </a:lnTo>
                    <a:lnTo>
                      <a:pt x="733" y="1465"/>
                    </a:lnTo>
                    <a:lnTo>
                      <a:pt x="733" y="1464"/>
                    </a:lnTo>
                    <a:lnTo>
                      <a:pt x="733" y="1463"/>
                    </a:lnTo>
                    <a:lnTo>
                      <a:pt x="732" y="1462"/>
                    </a:lnTo>
                    <a:lnTo>
                      <a:pt x="731" y="1462"/>
                    </a:lnTo>
                    <a:lnTo>
                      <a:pt x="725" y="1462"/>
                    </a:lnTo>
                    <a:lnTo>
                      <a:pt x="724" y="1463"/>
                    </a:lnTo>
                    <a:lnTo>
                      <a:pt x="720" y="1468"/>
                    </a:lnTo>
                    <a:lnTo>
                      <a:pt x="719" y="1469"/>
                    </a:lnTo>
                    <a:lnTo>
                      <a:pt x="718" y="1469"/>
                    </a:lnTo>
                    <a:lnTo>
                      <a:pt x="717" y="1469"/>
                    </a:lnTo>
                    <a:lnTo>
                      <a:pt x="710" y="1472"/>
                    </a:lnTo>
                    <a:lnTo>
                      <a:pt x="709" y="1472"/>
                    </a:lnTo>
                    <a:lnTo>
                      <a:pt x="709" y="1474"/>
                    </a:lnTo>
                    <a:lnTo>
                      <a:pt x="707" y="1474"/>
                    </a:lnTo>
                    <a:lnTo>
                      <a:pt x="706" y="1474"/>
                    </a:lnTo>
                    <a:lnTo>
                      <a:pt x="705" y="1475"/>
                    </a:lnTo>
                    <a:lnTo>
                      <a:pt x="705" y="1476"/>
                    </a:lnTo>
                    <a:lnTo>
                      <a:pt x="703" y="1477"/>
                    </a:lnTo>
                    <a:lnTo>
                      <a:pt x="702" y="1477"/>
                    </a:lnTo>
                    <a:lnTo>
                      <a:pt x="700" y="1478"/>
                    </a:lnTo>
                    <a:lnTo>
                      <a:pt x="699" y="1478"/>
                    </a:lnTo>
                    <a:lnTo>
                      <a:pt x="698" y="1478"/>
                    </a:lnTo>
                    <a:lnTo>
                      <a:pt x="697" y="1479"/>
                    </a:lnTo>
                    <a:lnTo>
                      <a:pt x="696" y="1483"/>
                    </a:lnTo>
                    <a:lnTo>
                      <a:pt x="695" y="1484"/>
                    </a:lnTo>
                    <a:lnTo>
                      <a:pt x="693" y="1485"/>
                    </a:lnTo>
                    <a:lnTo>
                      <a:pt x="692" y="1486"/>
                    </a:lnTo>
                    <a:lnTo>
                      <a:pt x="691" y="1486"/>
                    </a:lnTo>
                    <a:lnTo>
                      <a:pt x="689" y="1489"/>
                    </a:lnTo>
                    <a:lnTo>
                      <a:pt x="676" y="1486"/>
                    </a:lnTo>
                    <a:lnTo>
                      <a:pt x="646" y="1483"/>
                    </a:lnTo>
                    <a:lnTo>
                      <a:pt x="614" y="1479"/>
                    </a:lnTo>
                    <a:lnTo>
                      <a:pt x="584" y="1477"/>
                    </a:lnTo>
                    <a:lnTo>
                      <a:pt x="553" y="1474"/>
                    </a:lnTo>
                    <a:lnTo>
                      <a:pt x="522" y="1470"/>
                    </a:lnTo>
                    <a:lnTo>
                      <a:pt x="492" y="1468"/>
                    </a:lnTo>
                    <a:lnTo>
                      <a:pt x="461" y="1464"/>
                    </a:lnTo>
                    <a:lnTo>
                      <a:pt x="430" y="1462"/>
                    </a:lnTo>
                    <a:lnTo>
                      <a:pt x="399" y="1460"/>
                    </a:lnTo>
                    <a:lnTo>
                      <a:pt x="369" y="1456"/>
                    </a:lnTo>
                    <a:lnTo>
                      <a:pt x="337" y="1454"/>
                    </a:lnTo>
                    <a:lnTo>
                      <a:pt x="307" y="1451"/>
                    </a:lnTo>
                    <a:lnTo>
                      <a:pt x="276" y="1450"/>
                    </a:lnTo>
                    <a:lnTo>
                      <a:pt x="245" y="1448"/>
                    </a:lnTo>
                    <a:lnTo>
                      <a:pt x="214" y="1446"/>
                    </a:lnTo>
                    <a:lnTo>
                      <a:pt x="184" y="1444"/>
                    </a:lnTo>
                    <a:lnTo>
                      <a:pt x="185" y="1416"/>
                    </a:lnTo>
                    <a:lnTo>
                      <a:pt x="186" y="1390"/>
                    </a:lnTo>
                    <a:lnTo>
                      <a:pt x="188" y="1363"/>
                    </a:lnTo>
                    <a:lnTo>
                      <a:pt x="190" y="1336"/>
                    </a:lnTo>
                    <a:lnTo>
                      <a:pt x="191" y="1308"/>
                    </a:lnTo>
                    <a:lnTo>
                      <a:pt x="193" y="1281"/>
                    </a:lnTo>
                    <a:lnTo>
                      <a:pt x="194" y="1254"/>
                    </a:lnTo>
                    <a:lnTo>
                      <a:pt x="195" y="1226"/>
                    </a:lnTo>
                    <a:lnTo>
                      <a:pt x="171" y="1225"/>
                    </a:lnTo>
                    <a:lnTo>
                      <a:pt x="147" y="1224"/>
                    </a:lnTo>
                    <a:lnTo>
                      <a:pt x="122" y="1223"/>
                    </a:lnTo>
                    <a:lnTo>
                      <a:pt x="98" y="1222"/>
                    </a:lnTo>
                    <a:lnTo>
                      <a:pt x="73" y="1220"/>
                    </a:lnTo>
                    <a:lnTo>
                      <a:pt x="49" y="1220"/>
                    </a:lnTo>
                    <a:lnTo>
                      <a:pt x="24" y="1219"/>
                    </a:lnTo>
                    <a:lnTo>
                      <a:pt x="0" y="1218"/>
                    </a:lnTo>
                    <a:lnTo>
                      <a:pt x="0" y="1197"/>
                    </a:lnTo>
                    <a:lnTo>
                      <a:pt x="1" y="1175"/>
                    </a:lnTo>
                    <a:lnTo>
                      <a:pt x="2" y="1154"/>
                    </a:lnTo>
                    <a:lnTo>
                      <a:pt x="2" y="1133"/>
                    </a:lnTo>
                    <a:lnTo>
                      <a:pt x="3" y="1111"/>
                    </a:lnTo>
                    <a:lnTo>
                      <a:pt x="3" y="1090"/>
                    </a:lnTo>
                    <a:lnTo>
                      <a:pt x="5" y="1069"/>
                    </a:lnTo>
                    <a:lnTo>
                      <a:pt x="5" y="1047"/>
                    </a:lnTo>
                    <a:lnTo>
                      <a:pt x="6" y="1026"/>
                    </a:lnTo>
                    <a:lnTo>
                      <a:pt x="7" y="1005"/>
                    </a:lnTo>
                    <a:lnTo>
                      <a:pt x="7" y="982"/>
                    </a:lnTo>
                    <a:lnTo>
                      <a:pt x="8" y="961"/>
                    </a:lnTo>
                    <a:lnTo>
                      <a:pt x="8" y="939"/>
                    </a:lnTo>
                    <a:lnTo>
                      <a:pt x="9" y="918"/>
                    </a:lnTo>
                    <a:lnTo>
                      <a:pt x="10" y="897"/>
                    </a:lnTo>
                    <a:lnTo>
                      <a:pt x="10" y="875"/>
                    </a:lnTo>
                    <a:lnTo>
                      <a:pt x="12" y="854"/>
                    </a:lnTo>
                    <a:lnTo>
                      <a:pt x="12" y="832"/>
                    </a:lnTo>
                    <a:lnTo>
                      <a:pt x="13" y="811"/>
                    </a:lnTo>
                    <a:lnTo>
                      <a:pt x="14" y="790"/>
                    </a:lnTo>
                    <a:lnTo>
                      <a:pt x="14" y="768"/>
                    </a:lnTo>
                    <a:lnTo>
                      <a:pt x="15" y="747"/>
                    </a:lnTo>
                    <a:lnTo>
                      <a:pt x="15" y="725"/>
                    </a:lnTo>
                    <a:lnTo>
                      <a:pt x="16" y="704"/>
                    </a:lnTo>
                    <a:lnTo>
                      <a:pt x="16" y="682"/>
                    </a:lnTo>
                    <a:lnTo>
                      <a:pt x="17" y="661"/>
                    </a:lnTo>
                    <a:lnTo>
                      <a:pt x="19" y="638"/>
                    </a:lnTo>
                    <a:lnTo>
                      <a:pt x="19" y="617"/>
                    </a:lnTo>
                    <a:lnTo>
                      <a:pt x="20" y="595"/>
                    </a:lnTo>
                    <a:lnTo>
                      <a:pt x="20" y="573"/>
                    </a:lnTo>
                    <a:lnTo>
                      <a:pt x="21" y="552"/>
                    </a:lnTo>
                    <a:lnTo>
                      <a:pt x="22" y="530"/>
                    </a:lnTo>
                    <a:lnTo>
                      <a:pt x="22" y="529"/>
                    </a:lnTo>
                    <a:lnTo>
                      <a:pt x="26" y="535"/>
                    </a:lnTo>
                    <a:lnTo>
                      <a:pt x="29" y="536"/>
                    </a:lnTo>
                    <a:lnTo>
                      <a:pt x="32" y="539"/>
                    </a:lnTo>
                    <a:lnTo>
                      <a:pt x="34" y="542"/>
                    </a:lnTo>
                    <a:lnTo>
                      <a:pt x="37" y="542"/>
                    </a:lnTo>
                    <a:lnTo>
                      <a:pt x="38" y="543"/>
                    </a:lnTo>
                    <a:lnTo>
                      <a:pt x="39" y="543"/>
                    </a:lnTo>
                    <a:lnTo>
                      <a:pt x="41" y="543"/>
                    </a:lnTo>
                    <a:lnTo>
                      <a:pt x="41" y="544"/>
                    </a:lnTo>
                    <a:lnTo>
                      <a:pt x="42" y="545"/>
                    </a:lnTo>
                    <a:lnTo>
                      <a:pt x="43" y="545"/>
                    </a:lnTo>
                    <a:lnTo>
                      <a:pt x="48" y="545"/>
                    </a:lnTo>
                    <a:lnTo>
                      <a:pt x="50" y="546"/>
                    </a:lnTo>
                    <a:lnTo>
                      <a:pt x="52" y="547"/>
                    </a:lnTo>
                    <a:lnTo>
                      <a:pt x="56" y="549"/>
                    </a:lnTo>
                    <a:lnTo>
                      <a:pt x="59" y="547"/>
                    </a:lnTo>
                    <a:lnTo>
                      <a:pt x="66" y="549"/>
                    </a:lnTo>
                    <a:lnTo>
                      <a:pt x="67" y="549"/>
                    </a:lnTo>
                    <a:lnTo>
                      <a:pt x="70" y="551"/>
                    </a:lnTo>
                    <a:lnTo>
                      <a:pt x="71" y="551"/>
                    </a:lnTo>
                    <a:lnTo>
                      <a:pt x="73" y="552"/>
                    </a:lnTo>
                    <a:lnTo>
                      <a:pt x="74" y="553"/>
                    </a:lnTo>
                    <a:lnTo>
                      <a:pt x="78" y="554"/>
                    </a:lnTo>
                    <a:lnTo>
                      <a:pt x="80" y="556"/>
                    </a:lnTo>
                    <a:lnTo>
                      <a:pt x="83" y="556"/>
                    </a:lnTo>
                    <a:lnTo>
                      <a:pt x="90" y="557"/>
                    </a:lnTo>
                    <a:lnTo>
                      <a:pt x="92" y="558"/>
                    </a:lnTo>
                    <a:lnTo>
                      <a:pt x="94" y="559"/>
                    </a:lnTo>
                    <a:lnTo>
                      <a:pt x="95" y="564"/>
                    </a:lnTo>
                    <a:lnTo>
                      <a:pt x="98" y="566"/>
                    </a:lnTo>
                    <a:lnTo>
                      <a:pt x="102" y="568"/>
                    </a:lnTo>
                    <a:lnTo>
                      <a:pt x="101" y="571"/>
                    </a:lnTo>
                    <a:lnTo>
                      <a:pt x="101" y="574"/>
                    </a:lnTo>
                    <a:lnTo>
                      <a:pt x="101" y="578"/>
                    </a:lnTo>
                    <a:lnTo>
                      <a:pt x="102" y="581"/>
                    </a:lnTo>
                    <a:lnTo>
                      <a:pt x="105" y="587"/>
                    </a:lnTo>
                    <a:lnTo>
                      <a:pt x="107" y="589"/>
                    </a:lnTo>
                    <a:lnTo>
                      <a:pt x="109" y="592"/>
                    </a:lnTo>
                    <a:lnTo>
                      <a:pt x="112" y="593"/>
                    </a:lnTo>
                    <a:lnTo>
                      <a:pt x="119" y="593"/>
                    </a:lnTo>
                    <a:lnTo>
                      <a:pt x="121" y="594"/>
                    </a:lnTo>
                    <a:lnTo>
                      <a:pt x="121" y="595"/>
                    </a:lnTo>
                    <a:lnTo>
                      <a:pt x="123" y="596"/>
                    </a:lnTo>
                    <a:lnTo>
                      <a:pt x="126" y="598"/>
                    </a:lnTo>
                    <a:lnTo>
                      <a:pt x="126" y="599"/>
                    </a:lnTo>
                    <a:lnTo>
                      <a:pt x="127" y="600"/>
                    </a:lnTo>
                    <a:lnTo>
                      <a:pt x="130" y="602"/>
                    </a:lnTo>
                    <a:lnTo>
                      <a:pt x="133" y="605"/>
                    </a:lnTo>
                    <a:lnTo>
                      <a:pt x="135" y="607"/>
                    </a:lnTo>
                    <a:lnTo>
                      <a:pt x="136" y="607"/>
                    </a:lnTo>
                    <a:lnTo>
                      <a:pt x="138" y="607"/>
                    </a:lnTo>
                    <a:lnTo>
                      <a:pt x="144" y="609"/>
                    </a:lnTo>
                    <a:lnTo>
                      <a:pt x="145" y="609"/>
                    </a:lnTo>
                    <a:lnTo>
                      <a:pt x="147" y="610"/>
                    </a:lnTo>
                    <a:lnTo>
                      <a:pt x="148" y="612"/>
                    </a:lnTo>
                    <a:lnTo>
                      <a:pt x="155" y="614"/>
                    </a:lnTo>
                    <a:lnTo>
                      <a:pt x="155" y="615"/>
                    </a:lnTo>
                    <a:lnTo>
                      <a:pt x="156" y="617"/>
                    </a:lnTo>
                    <a:lnTo>
                      <a:pt x="158" y="620"/>
                    </a:lnTo>
                    <a:lnTo>
                      <a:pt x="159" y="620"/>
                    </a:lnTo>
                    <a:lnTo>
                      <a:pt x="167" y="621"/>
                    </a:lnTo>
                    <a:lnTo>
                      <a:pt x="176" y="621"/>
                    </a:lnTo>
                    <a:lnTo>
                      <a:pt x="187" y="619"/>
                    </a:lnTo>
                    <a:lnTo>
                      <a:pt x="188" y="619"/>
                    </a:lnTo>
                    <a:lnTo>
                      <a:pt x="190" y="617"/>
                    </a:lnTo>
                    <a:lnTo>
                      <a:pt x="191" y="617"/>
                    </a:lnTo>
                    <a:lnTo>
                      <a:pt x="192" y="617"/>
                    </a:lnTo>
                    <a:lnTo>
                      <a:pt x="195" y="617"/>
                    </a:lnTo>
                    <a:lnTo>
                      <a:pt x="195" y="616"/>
                    </a:lnTo>
                    <a:lnTo>
                      <a:pt x="197" y="616"/>
                    </a:lnTo>
                    <a:lnTo>
                      <a:pt x="199" y="614"/>
                    </a:lnTo>
                    <a:lnTo>
                      <a:pt x="200" y="614"/>
                    </a:lnTo>
                    <a:lnTo>
                      <a:pt x="201" y="614"/>
                    </a:lnTo>
                    <a:lnTo>
                      <a:pt x="202" y="614"/>
                    </a:lnTo>
                    <a:lnTo>
                      <a:pt x="202" y="613"/>
                    </a:lnTo>
                    <a:lnTo>
                      <a:pt x="205" y="612"/>
                    </a:lnTo>
                    <a:lnTo>
                      <a:pt x="207" y="610"/>
                    </a:lnTo>
                    <a:lnTo>
                      <a:pt x="208" y="609"/>
                    </a:lnTo>
                    <a:lnTo>
                      <a:pt x="212" y="609"/>
                    </a:lnTo>
                    <a:lnTo>
                      <a:pt x="212" y="608"/>
                    </a:lnTo>
                    <a:lnTo>
                      <a:pt x="213" y="606"/>
                    </a:lnTo>
                    <a:lnTo>
                      <a:pt x="214" y="606"/>
                    </a:lnTo>
                    <a:lnTo>
                      <a:pt x="215" y="605"/>
                    </a:lnTo>
                    <a:lnTo>
                      <a:pt x="218" y="605"/>
                    </a:lnTo>
                    <a:lnTo>
                      <a:pt x="219" y="605"/>
                    </a:lnTo>
                    <a:lnTo>
                      <a:pt x="220" y="603"/>
                    </a:lnTo>
                    <a:lnTo>
                      <a:pt x="220" y="602"/>
                    </a:lnTo>
                    <a:lnTo>
                      <a:pt x="222" y="598"/>
                    </a:lnTo>
                    <a:lnTo>
                      <a:pt x="223" y="591"/>
                    </a:lnTo>
                    <a:lnTo>
                      <a:pt x="224" y="588"/>
                    </a:lnTo>
                    <a:lnTo>
                      <a:pt x="224" y="587"/>
                    </a:lnTo>
                    <a:lnTo>
                      <a:pt x="227" y="586"/>
                    </a:lnTo>
                    <a:lnTo>
                      <a:pt x="227" y="584"/>
                    </a:lnTo>
                    <a:lnTo>
                      <a:pt x="228" y="582"/>
                    </a:lnTo>
                    <a:lnTo>
                      <a:pt x="229" y="578"/>
                    </a:lnTo>
                    <a:lnTo>
                      <a:pt x="229" y="577"/>
                    </a:lnTo>
                    <a:lnTo>
                      <a:pt x="228" y="574"/>
                    </a:lnTo>
                    <a:lnTo>
                      <a:pt x="228" y="573"/>
                    </a:lnTo>
                    <a:lnTo>
                      <a:pt x="229" y="572"/>
                    </a:lnTo>
                    <a:lnTo>
                      <a:pt x="236" y="564"/>
                    </a:lnTo>
                    <a:lnTo>
                      <a:pt x="238" y="558"/>
                    </a:lnTo>
                    <a:lnTo>
                      <a:pt x="240" y="558"/>
                    </a:lnTo>
                    <a:lnTo>
                      <a:pt x="241" y="558"/>
                    </a:lnTo>
                    <a:lnTo>
                      <a:pt x="242" y="557"/>
                    </a:lnTo>
                    <a:lnTo>
                      <a:pt x="243" y="556"/>
                    </a:lnTo>
                    <a:lnTo>
                      <a:pt x="248" y="551"/>
                    </a:lnTo>
                    <a:lnTo>
                      <a:pt x="248" y="550"/>
                    </a:lnTo>
                    <a:lnTo>
                      <a:pt x="248" y="549"/>
                    </a:lnTo>
                    <a:lnTo>
                      <a:pt x="249" y="546"/>
                    </a:lnTo>
                    <a:lnTo>
                      <a:pt x="250" y="542"/>
                    </a:lnTo>
                    <a:lnTo>
                      <a:pt x="251" y="540"/>
                    </a:lnTo>
                    <a:lnTo>
                      <a:pt x="252" y="540"/>
                    </a:lnTo>
                    <a:lnTo>
                      <a:pt x="254" y="538"/>
                    </a:lnTo>
                    <a:lnTo>
                      <a:pt x="255" y="536"/>
                    </a:lnTo>
                    <a:lnTo>
                      <a:pt x="255" y="535"/>
                    </a:lnTo>
                    <a:lnTo>
                      <a:pt x="256" y="533"/>
                    </a:lnTo>
                    <a:lnTo>
                      <a:pt x="256" y="532"/>
                    </a:lnTo>
                    <a:lnTo>
                      <a:pt x="255" y="531"/>
                    </a:lnTo>
                    <a:lnTo>
                      <a:pt x="255" y="530"/>
                    </a:lnTo>
                    <a:lnTo>
                      <a:pt x="256" y="529"/>
                    </a:lnTo>
                    <a:lnTo>
                      <a:pt x="257" y="526"/>
                    </a:lnTo>
                    <a:lnTo>
                      <a:pt x="257" y="525"/>
                    </a:lnTo>
                    <a:lnTo>
                      <a:pt x="258" y="524"/>
                    </a:lnTo>
                    <a:lnTo>
                      <a:pt x="259" y="521"/>
                    </a:lnTo>
                    <a:lnTo>
                      <a:pt x="259" y="519"/>
                    </a:lnTo>
                    <a:lnTo>
                      <a:pt x="259" y="517"/>
                    </a:lnTo>
                    <a:lnTo>
                      <a:pt x="261" y="516"/>
                    </a:lnTo>
                    <a:lnTo>
                      <a:pt x="261" y="515"/>
                    </a:lnTo>
                    <a:lnTo>
                      <a:pt x="262" y="514"/>
                    </a:lnTo>
                    <a:lnTo>
                      <a:pt x="266" y="507"/>
                    </a:lnTo>
                    <a:lnTo>
                      <a:pt x="266" y="505"/>
                    </a:lnTo>
                    <a:lnTo>
                      <a:pt x="265" y="503"/>
                    </a:lnTo>
                    <a:lnTo>
                      <a:pt x="263" y="496"/>
                    </a:lnTo>
                    <a:lnTo>
                      <a:pt x="263" y="495"/>
                    </a:lnTo>
                    <a:lnTo>
                      <a:pt x="264" y="494"/>
                    </a:lnTo>
                    <a:lnTo>
                      <a:pt x="265" y="494"/>
                    </a:lnTo>
                    <a:lnTo>
                      <a:pt x="265" y="493"/>
                    </a:lnTo>
                    <a:lnTo>
                      <a:pt x="265" y="489"/>
                    </a:lnTo>
                    <a:lnTo>
                      <a:pt x="269" y="475"/>
                    </a:lnTo>
                    <a:lnTo>
                      <a:pt x="273" y="462"/>
                    </a:lnTo>
                    <a:lnTo>
                      <a:pt x="279" y="448"/>
                    </a:lnTo>
                    <a:lnTo>
                      <a:pt x="280" y="447"/>
                    </a:lnTo>
                    <a:lnTo>
                      <a:pt x="280" y="445"/>
                    </a:lnTo>
                    <a:lnTo>
                      <a:pt x="280" y="444"/>
                    </a:lnTo>
                    <a:lnTo>
                      <a:pt x="282" y="442"/>
                    </a:lnTo>
                    <a:lnTo>
                      <a:pt x="283" y="442"/>
                    </a:lnTo>
                    <a:lnTo>
                      <a:pt x="283" y="441"/>
                    </a:lnTo>
                    <a:lnTo>
                      <a:pt x="283" y="440"/>
                    </a:lnTo>
                    <a:lnTo>
                      <a:pt x="284" y="439"/>
                    </a:lnTo>
                    <a:lnTo>
                      <a:pt x="285" y="438"/>
                    </a:lnTo>
                    <a:lnTo>
                      <a:pt x="285" y="437"/>
                    </a:lnTo>
                    <a:lnTo>
                      <a:pt x="285" y="435"/>
                    </a:lnTo>
                    <a:lnTo>
                      <a:pt x="285" y="434"/>
                    </a:lnTo>
                    <a:lnTo>
                      <a:pt x="287" y="434"/>
                    </a:lnTo>
                    <a:lnTo>
                      <a:pt x="286" y="433"/>
                    </a:lnTo>
                    <a:lnTo>
                      <a:pt x="287" y="432"/>
                    </a:lnTo>
                    <a:lnTo>
                      <a:pt x="287" y="431"/>
                    </a:lnTo>
                    <a:lnTo>
                      <a:pt x="287" y="428"/>
                    </a:lnTo>
                    <a:lnTo>
                      <a:pt x="287" y="427"/>
                    </a:lnTo>
                    <a:lnTo>
                      <a:pt x="287" y="426"/>
                    </a:lnTo>
                    <a:lnTo>
                      <a:pt x="286" y="424"/>
                    </a:lnTo>
                    <a:lnTo>
                      <a:pt x="286" y="423"/>
                    </a:lnTo>
                    <a:lnTo>
                      <a:pt x="285" y="420"/>
                    </a:lnTo>
                    <a:lnTo>
                      <a:pt x="284" y="418"/>
                    </a:lnTo>
                    <a:lnTo>
                      <a:pt x="282" y="399"/>
                    </a:lnTo>
                    <a:lnTo>
                      <a:pt x="282" y="395"/>
                    </a:lnTo>
                    <a:lnTo>
                      <a:pt x="280" y="393"/>
                    </a:lnTo>
                    <a:lnTo>
                      <a:pt x="280" y="390"/>
                    </a:lnTo>
                    <a:lnTo>
                      <a:pt x="280" y="389"/>
                    </a:lnTo>
                    <a:lnTo>
                      <a:pt x="280" y="385"/>
                    </a:lnTo>
                    <a:lnTo>
                      <a:pt x="282" y="383"/>
                    </a:lnTo>
                    <a:lnTo>
                      <a:pt x="286" y="371"/>
                    </a:lnTo>
                    <a:lnTo>
                      <a:pt x="287" y="369"/>
                    </a:lnTo>
                    <a:lnTo>
                      <a:pt x="287" y="365"/>
                    </a:lnTo>
                    <a:lnTo>
                      <a:pt x="287" y="362"/>
                    </a:lnTo>
                    <a:lnTo>
                      <a:pt x="286" y="358"/>
                    </a:lnTo>
                    <a:lnTo>
                      <a:pt x="285" y="356"/>
                    </a:lnTo>
                    <a:lnTo>
                      <a:pt x="283" y="355"/>
                    </a:lnTo>
                    <a:lnTo>
                      <a:pt x="279" y="349"/>
                    </a:lnTo>
                    <a:lnTo>
                      <a:pt x="279" y="343"/>
                    </a:lnTo>
                    <a:lnTo>
                      <a:pt x="279" y="336"/>
                    </a:lnTo>
                    <a:lnTo>
                      <a:pt x="284" y="321"/>
                    </a:lnTo>
                    <a:lnTo>
                      <a:pt x="286" y="318"/>
                    </a:lnTo>
                    <a:lnTo>
                      <a:pt x="286" y="316"/>
                    </a:lnTo>
                    <a:lnTo>
                      <a:pt x="287" y="315"/>
                    </a:lnTo>
                    <a:lnTo>
                      <a:pt x="290" y="313"/>
                    </a:lnTo>
                    <a:lnTo>
                      <a:pt x="290" y="312"/>
                    </a:lnTo>
                    <a:lnTo>
                      <a:pt x="292" y="307"/>
                    </a:lnTo>
                    <a:lnTo>
                      <a:pt x="293" y="305"/>
                    </a:lnTo>
                    <a:lnTo>
                      <a:pt x="293" y="306"/>
                    </a:lnTo>
                    <a:lnTo>
                      <a:pt x="294" y="306"/>
                    </a:lnTo>
                    <a:lnTo>
                      <a:pt x="295" y="306"/>
                    </a:lnTo>
                    <a:lnTo>
                      <a:pt x="295" y="305"/>
                    </a:lnTo>
                    <a:lnTo>
                      <a:pt x="295" y="304"/>
                    </a:lnTo>
                    <a:lnTo>
                      <a:pt x="295" y="302"/>
                    </a:lnTo>
                    <a:lnTo>
                      <a:pt x="297" y="302"/>
                    </a:lnTo>
                    <a:lnTo>
                      <a:pt x="297" y="301"/>
                    </a:lnTo>
                    <a:lnTo>
                      <a:pt x="297" y="300"/>
                    </a:lnTo>
                    <a:lnTo>
                      <a:pt x="298" y="299"/>
                    </a:lnTo>
                    <a:lnTo>
                      <a:pt x="298" y="298"/>
                    </a:lnTo>
                    <a:lnTo>
                      <a:pt x="298" y="297"/>
                    </a:lnTo>
                    <a:lnTo>
                      <a:pt x="298" y="295"/>
                    </a:lnTo>
                    <a:lnTo>
                      <a:pt x="297" y="295"/>
                    </a:lnTo>
                    <a:lnTo>
                      <a:pt x="297" y="294"/>
                    </a:lnTo>
                    <a:lnTo>
                      <a:pt x="295" y="294"/>
                    </a:lnTo>
                    <a:lnTo>
                      <a:pt x="295" y="293"/>
                    </a:lnTo>
                    <a:lnTo>
                      <a:pt x="294" y="292"/>
                    </a:lnTo>
                    <a:lnTo>
                      <a:pt x="294" y="291"/>
                    </a:lnTo>
                    <a:lnTo>
                      <a:pt x="293" y="290"/>
                    </a:lnTo>
                    <a:lnTo>
                      <a:pt x="293" y="288"/>
                    </a:lnTo>
                    <a:lnTo>
                      <a:pt x="293" y="283"/>
                    </a:lnTo>
                    <a:lnTo>
                      <a:pt x="292" y="280"/>
                    </a:lnTo>
                    <a:lnTo>
                      <a:pt x="292" y="279"/>
                    </a:lnTo>
                    <a:lnTo>
                      <a:pt x="291" y="279"/>
                    </a:lnTo>
                    <a:lnTo>
                      <a:pt x="291" y="278"/>
                    </a:lnTo>
                    <a:lnTo>
                      <a:pt x="293" y="274"/>
                    </a:lnTo>
                    <a:lnTo>
                      <a:pt x="294" y="272"/>
                    </a:lnTo>
                    <a:lnTo>
                      <a:pt x="294" y="271"/>
                    </a:lnTo>
                    <a:lnTo>
                      <a:pt x="295" y="272"/>
                    </a:lnTo>
                    <a:lnTo>
                      <a:pt x="297" y="272"/>
                    </a:lnTo>
                    <a:lnTo>
                      <a:pt x="299" y="271"/>
                    </a:lnTo>
                    <a:lnTo>
                      <a:pt x="301" y="270"/>
                    </a:lnTo>
                    <a:lnTo>
                      <a:pt x="302" y="269"/>
                    </a:lnTo>
                    <a:lnTo>
                      <a:pt x="304" y="266"/>
                    </a:lnTo>
                    <a:lnTo>
                      <a:pt x="305" y="265"/>
                    </a:lnTo>
                    <a:lnTo>
                      <a:pt x="305" y="264"/>
                    </a:lnTo>
                    <a:lnTo>
                      <a:pt x="307" y="259"/>
                    </a:lnTo>
                    <a:lnTo>
                      <a:pt x="308" y="257"/>
                    </a:lnTo>
                    <a:lnTo>
                      <a:pt x="308" y="256"/>
                    </a:lnTo>
                    <a:lnTo>
                      <a:pt x="309" y="256"/>
                    </a:lnTo>
                    <a:lnTo>
                      <a:pt x="309" y="258"/>
                    </a:lnTo>
                    <a:lnTo>
                      <a:pt x="311" y="257"/>
                    </a:lnTo>
                    <a:lnTo>
                      <a:pt x="312" y="257"/>
                    </a:lnTo>
                    <a:lnTo>
                      <a:pt x="313" y="258"/>
                    </a:lnTo>
                    <a:lnTo>
                      <a:pt x="314" y="259"/>
                    </a:lnTo>
                    <a:lnTo>
                      <a:pt x="314" y="264"/>
                    </a:lnTo>
                    <a:lnTo>
                      <a:pt x="314" y="267"/>
                    </a:lnTo>
                    <a:lnTo>
                      <a:pt x="314" y="269"/>
                    </a:lnTo>
                    <a:lnTo>
                      <a:pt x="315" y="270"/>
                    </a:lnTo>
                    <a:lnTo>
                      <a:pt x="318" y="274"/>
                    </a:lnTo>
                    <a:lnTo>
                      <a:pt x="318" y="272"/>
                    </a:lnTo>
                    <a:lnTo>
                      <a:pt x="318" y="271"/>
                    </a:lnTo>
                    <a:lnTo>
                      <a:pt x="318" y="270"/>
                    </a:lnTo>
                    <a:lnTo>
                      <a:pt x="316" y="266"/>
                    </a:lnTo>
                    <a:lnTo>
                      <a:pt x="316" y="264"/>
                    </a:lnTo>
                    <a:lnTo>
                      <a:pt x="315" y="263"/>
                    </a:lnTo>
                    <a:lnTo>
                      <a:pt x="322" y="260"/>
                    </a:lnTo>
                    <a:lnTo>
                      <a:pt x="323" y="259"/>
                    </a:lnTo>
                    <a:lnTo>
                      <a:pt x="321" y="259"/>
                    </a:lnTo>
                    <a:lnTo>
                      <a:pt x="319" y="259"/>
                    </a:lnTo>
                    <a:lnTo>
                      <a:pt x="318" y="259"/>
                    </a:lnTo>
                    <a:lnTo>
                      <a:pt x="315" y="258"/>
                    </a:lnTo>
                    <a:lnTo>
                      <a:pt x="315" y="257"/>
                    </a:lnTo>
                    <a:lnTo>
                      <a:pt x="314" y="256"/>
                    </a:lnTo>
                    <a:lnTo>
                      <a:pt x="311" y="255"/>
                    </a:lnTo>
                    <a:lnTo>
                      <a:pt x="309" y="255"/>
                    </a:lnTo>
                    <a:lnTo>
                      <a:pt x="311" y="253"/>
                    </a:lnTo>
                    <a:lnTo>
                      <a:pt x="314" y="252"/>
                    </a:lnTo>
                    <a:lnTo>
                      <a:pt x="315" y="251"/>
                    </a:lnTo>
                    <a:lnTo>
                      <a:pt x="318" y="251"/>
                    </a:lnTo>
                    <a:lnTo>
                      <a:pt x="318" y="250"/>
                    </a:lnTo>
                    <a:lnTo>
                      <a:pt x="319" y="250"/>
                    </a:lnTo>
                    <a:lnTo>
                      <a:pt x="320" y="250"/>
                    </a:lnTo>
                    <a:lnTo>
                      <a:pt x="321" y="250"/>
                    </a:lnTo>
                    <a:lnTo>
                      <a:pt x="319" y="249"/>
                    </a:lnTo>
                    <a:lnTo>
                      <a:pt x="318" y="249"/>
                    </a:lnTo>
                    <a:lnTo>
                      <a:pt x="315" y="250"/>
                    </a:lnTo>
                    <a:lnTo>
                      <a:pt x="315" y="249"/>
                    </a:lnTo>
                    <a:lnTo>
                      <a:pt x="314" y="249"/>
                    </a:lnTo>
                    <a:lnTo>
                      <a:pt x="312" y="250"/>
                    </a:lnTo>
                    <a:lnTo>
                      <a:pt x="309" y="249"/>
                    </a:lnTo>
                    <a:lnTo>
                      <a:pt x="308" y="249"/>
                    </a:lnTo>
                    <a:lnTo>
                      <a:pt x="307" y="248"/>
                    </a:lnTo>
                    <a:lnTo>
                      <a:pt x="306" y="245"/>
                    </a:lnTo>
                    <a:lnTo>
                      <a:pt x="305" y="244"/>
                    </a:lnTo>
                    <a:lnTo>
                      <a:pt x="301" y="243"/>
                    </a:lnTo>
                    <a:lnTo>
                      <a:pt x="305" y="241"/>
                    </a:lnTo>
                    <a:lnTo>
                      <a:pt x="306" y="239"/>
                    </a:lnTo>
                    <a:lnTo>
                      <a:pt x="305" y="239"/>
                    </a:lnTo>
                    <a:lnTo>
                      <a:pt x="301" y="239"/>
                    </a:lnTo>
                    <a:lnTo>
                      <a:pt x="300" y="239"/>
                    </a:lnTo>
                    <a:lnTo>
                      <a:pt x="299" y="238"/>
                    </a:lnTo>
                    <a:lnTo>
                      <a:pt x="299" y="239"/>
                    </a:lnTo>
                    <a:lnTo>
                      <a:pt x="299" y="244"/>
                    </a:lnTo>
                    <a:lnTo>
                      <a:pt x="300" y="244"/>
                    </a:lnTo>
                    <a:lnTo>
                      <a:pt x="301" y="245"/>
                    </a:lnTo>
                    <a:lnTo>
                      <a:pt x="300" y="245"/>
                    </a:lnTo>
                    <a:lnTo>
                      <a:pt x="299" y="245"/>
                    </a:lnTo>
                    <a:lnTo>
                      <a:pt x="295" y="246"/>
                    </a:lnTo>
                    <a:lnTo>
                      <a:pt x="294" y="246"/>
                    </a:lnTo>
                    <a:lnTo>
                      <a:pt x="293" y="245"/>
                    </a:lnTo>
                    <a:lnTo>
                      <a:pt x="294" y="244"/>
                    </a:lnTo>
                    <a:lnTo>
                      <a:pt x="302" y="228"/>
                    </a:lnTo>
                    <a:lnTo>
                      <a:pt x="304" y="223"/>
                    </a:lnTo>
                    <a:lnTo>
                      <a:pt x="305" y="222"/>
                    </a:lnTo>
                    <a:lnTo>
                      <a:pt x="308" y="223"/>
                    </a:lnTo>
                    <a:lnTo>
                      <a:pt x="309" y="223"/>
                    </a:lnTo>
                    <a:lnTo>
                      <a:pt x="311" y="223"/>
                    </a:lnTo>
                    <a:lnTo>
                      <a:pt x="309" y="222"/>
                    </a:lnTo>
                    <a:lnTo>
                      <a:pt x="309" y="221"/>
                    </a:lnTo>
                    <a:lnTo>
                      <a:pt x="308" y="221"/>
                    </a:lnTo>
                    <a:lnTo>
                      <a:pt x="308" y="222"/>
                    </a:lnTo>
                    <a:lnTo>
                      <a:pt x="307" y="222"/>
                    </a:lnTo>
                    <a:lnTo>
                      <a:pt x="307" y="221"/>
                    </a:lnTo>
                    <a:lnTo>
                      <a:pt x="307" y="220"/>
                    </a:lnTo>
                    <a:lnTo>
                      <a:pt x="308" y="217"/>
                    </a:lnTo>
                    <a:lnTo>
                      <a:pt x="309" y="214"/>
                    </a:lnTo>
                    <a:lnTo>
                      <a:pt x="311" y="209"/>
                    </a:lnTo>
                    <a:lnTo>
                      <a:pt x="314" y="206"/>
                    </a:lnTo>
                    <a:lnTo>
                      <a:pt x="316" y="203"/>
                    </a:lnTo>
                    <a:lnTo>
                      <a:pt x="320" y="202"/>
                    </a:lnTo>
                    <a:lnTo>
                      <a:pt x="319" y="204"/>
                    </a:lnTo>
                    <a:lnTo>
                      <a:pt x="319" y="206"/>
                    </a:lnTo>
                    <a:lnTo>
                      <a:pt x="319" y="207"/>
                    </a:lnTo>
                    <a:lnTo>
                      <a:pt x="320" y="211"/>
                    </a:lnTo>
                    <a:lnTo>
                      <a:pt x="320" y="213"/>
                    </a:lnTo>
                    <a:lnTo>
                      <a:pt x="320" y="214"/>
                    </a:lnTo>
                    <a:lnTo>
                      <a:pt x="322" y="209"/>
                    </a:lnTo>
                    <a:lnTo>
                      <a:pt x="323" y="209"/>
                    </a:lnTo>
                    <a:lnTo>
                      <a:pt x="327" y="211"/>
                    </a:lnTo>
                    <a:lnTo>
                      <a:pt x="328" y="209"/>
                    </a:lnTo>
                    <a:lnTo>
                      <a:pt x="327" y="208"/>
                    </a:lnTo>
                    <a:lnTo>
                      <a:pt x="326" y="206"/>
                    </a:lnTo>
                    <a:lnTo>
                      <a:pt x="325" y="204"/>
                    </a:lnTo>
                    <a:lnTo>
                      <a:pt x="323" y="204"/>
                    </a:lnTo>
                    <a:lnTo>
                      <a:pt x="322" y="204"/>
                    </a:lnTo>
                    <a:lnTo>
                      <a:pt x="322" y="202"/>
                    </a:lnTo>
                    <a:lnTo>
                      <a:pt x="322" y="199"/>
                    </a:lnTo>
                    <a:lnTo>
                      <a:pt x="325" y="193"/>
                    </a:lnTo>
                    <a:lnTo>
                      <a:pt x="328" y="188"/>
                    </a:lnTo>
                    <a:lnTo>
                      <a:pt x="328" y="186"/>
                    </a:lnTo>
                    <a:lnTo>
                      <a:pt x="328" y="185"/>
                    </a:lnTo>
                    <a:lnTo>
                      <a:pt x="339" y="158"/>
                    </a:lnTo>
                    <a:lnTo>
                      <a:pt x="339" y="155"/>
                    </a:lnTo>
                    <a:lnTo>
                      <a:pt x="340" y="152"/>
                    </a:lnTo>
                    <a:lnTo>
                      <a:pt x="340" y="150"/>
                    </a:lnTo>
                    <a:lnTo>
                      <a:pt x="340" y="148"/>
                    </a:lnTo>
                    <a:lnTo>
                      <a:pt x="341" y="146"/>
                    </a:lnTo>
                    <a:lnTo>
                      <a:pt x="342" y="144"/>
                    </a:lnTo>
                    <a:lnTo>
                      <a:pt x="342" y="137"/>
                    </a:lnTo>
                    <a:lnTo>
                      <a:pt x="342" y="131"/>
                    </a:lnTo>
                    <a:lnTo>
                      <a:pt x="342" y="129"/>
                    </a:lnTo>
                    <a:lnTo>
                      <a:pt x="344" y="127"/>
                    </a:lnTo>
                    <a:lnTo>
                      <a:pt x="348" y="126"/>
                    </a:lnTo>
                    <a:lnTo>
                      <a:pt x="348" y="127"/>
                    </a:lnTo>
                    <a:lnTo>
                      <a:pt x="349" y="126"/>
                    </a:lnTo>
                    <a:lnTo>
                      <a:pt x="350" y="126"/>
                    </a:lnTo>
                    <a:lnTo>
                      <a:pt x="351" y="126"/>
                    </a:lnTo>
                    <a:lnTo>
                      <a:pt x="354" y="126"/>
                    </a:lnTo>
                    <a:lnTo>
                      <a:pt x="355" y="126"/>
                    </a:lnTo>
                    <a:lnTo>
                      <a:pt x="356" y="125"/>
                    </a:lnTo>
                    <a:lnTo>
                      <a:pt x="358" y="123"/>
                    </a:lnTo>
                    <a:lnTo>
                      <a:pt x="362" y="120"/>
                    </a:lnTo>
                    <a:lnTo>
                      <a:pt x="362" y="119"/>
                    </a:lnTo>
                    <a:lnTo>
                      <a:pt x="362" y="118"/>
                    </a:lnTo>
                    <a:lnTo>
                      <a:pt x="363" y="115"/>
                    </a:lnTo>
                    <a:lnTo>
                      <a:pt x="364" y="113"/>
                    </a:lnTo>
                    <a:lnTo>
                      <a:pt x="365" y="112"/>
                    </a:lnTo>
                    <a:lnTo>
                      <a:pt x="366" y="112"/>
                    </a:lnTo>
                    <a:lnTo>
                      <a:pt x="370" y="112"/>
                    </a:lnTo>
                    <a:lnTo>
                      <a:pt x="371" y="111"/>
                    </a:lnTo>
                    <a:lnTo>
                      <a:pt x="372" y="111"/>
                    </a:lnTo>
                    <a:lnTo>
                      <a:pt x="373" y="111"/>
                    </a:lnTo>
                    <a:lnTo>
                      <a:pt x="372" y="112"/>
                    </a:lnTo>
                    <a:close/>
                    <a:moveTo>
                      <a:pt x="352" y="111"/>
                    </a:moveTo>
                    <a:lnTo>
                      <a:pt x="352" y="112"/>
                    </a:lnTo>
                    <a:lnTo>
                      <a:pt x="351" y="111"/>
                    </a:lnTo>
                    <a:lnTo>
                      <a:pt x="349" y="112"/>
                    </a:lnTo>
                    <a:lnTo>
                      <a:pt x="348" y="112"/>
                    </a:lnTo>
                    <a:lnTo>
                      <a:pt x="347" y="112"/>
                    </a:lnTo>
                    <a:lnTo>
                      <a:pt x="347" y="113"/>
                    </a:lnTo>
                    <a:lnTo>
                      <a:pt x="346" y="115"/>
                    </a:lnTo>
                    <a:lnTo>
                      <a:pt x="343" y="113"/>
                    </a:lnTo>
                    <a:lnTo>
                      <a:pt x="342" y="112"/>
                    </a:lnTo>
                    <a:lnTo>
                      <a:pt x="341" y="110"/>
                    </a:lnTo>
                    <a:lnTo>
                      <a:pt x="341" y="109"/>
                    </a:lnTo>
                    <a:lnTo>
                      <a:pt x="341" y="106"/>
                    </a:lnTo>
                    <a:lnTo>
                      <a:pt x="341" y="105"/>
                    </a:lnTo>
                    <a:lnTo>
                      <a:pt x="342" y="105"/>
                    </a:lnTo>
                    <a:lnTo>
                      <a:pt x="343" y="105"/>
                    </a:lnTo>
                    <a:lnTo>
                      <a:pt x="343" y="104"/>
                    </a:lnTo>
                    <a:lnTo>
                      <a:pt x="344" y="104"/>
                    </a:lnTo>
                    <a:lnTo>
                      <a:pt x="346" y="104"/>
                    </a:lnTo>
                    <a:lnTo>
                      <a:pt x="346" y="103"/>
                    </a:lnTo>
                    <a:lnTo>
                      <a:pt x="347" y="102"/>
                    </a:lnTo>
                    <a:lnTo>
                      <a:pt x="348" y="103"/>
                    </a:lnTo>
                    <a:lnTo>
                      <a:pt x="349" y="104"/>
                    </a:lnTo>
                    <a:lnTo>
                      <a:pt x="351" y="108"/>
                    </a:lnTo>
                    <a:lnTo>
                      <a:pt x="352" y="110"/>
                    </a:lnTo>
                    <a:lnTo>
                      <a:pt x="352" y="111"/>
                    </a:lnTo>
                    <a:close/>
                    <a:moveTo>
                      <a:pt x="355" y="105"/>
                    </a:moveTo>
                    <a:lnTo>
                      <a:pt x="352" y="106"/>
                    </a:lnTo>
                    <a:lnTo>
                      <a:pt x="351" y="104"/>
                    </a:lnTo>
                    <a:lnTo>
                      <a:pt x="351" y="103"/>
                    </a:lnTo>
                    <a:lnTo>
                      <a:pt x="352" y="101"/>
                    </a:lnTo>
                    <a:lnTo>
                      <a:pt x="355" y="101"/>
                    </a:lnTo>
                    <a:lnTo>
                      <a:pt x="356" y="102"/>
                    </a:lnTo>
                    <a:lnTo>
                      <a:pt x="357" y="104"/>
                    </a:lnTo>
                    <a:lnTo>
                      <a:pt x="355" y="105"/>
                    </a:lnTo>
                    <a:close/>
                    <a:moveTo>
                      <a:pt x="358" y="74"/>
                    </a:moveTo>
                    <a:lnTo>
                      <a:pt x="356" y="77"/>
                    </a:lnTo>
                    <a:lnTo>
                      <a:pt x="355" y="77"/>
                    </a:lnTo>
                    <a:lnTo>
                      <a:pt x="354" y="76"/>
                    </a:lnTo>
                    <a:lnTo>
                      <a:pt x="352" y="76"/>
                    </a:lnTo>
                    <a:lnTo>
                      <a:pt x="351" y="75"/>
                    </a:lnTo>
                    <a:lnTo>
                      <a:pt x="351" y="76"/>
                    </a:lnTo>
                    <a:lnTo>
                      <a:pt x="350" y="75"/>
                    </a:lnTo>
                    <a:lnTo>
                      <a:pt x="349" y="74"/>
                    </a:lnTo>
                    <a:lnTo>
                      <a:pt x="349" y="73"/>
                    </a:lnTo>
                    <a:lnTo>
                      <a:pt x="349" y="71"/>
                    </a:lnTo>
                    <a:lnTo>
                      <a:pt x="350" y="71"/>
                    </a:lnTo>
                    <a:lnTo>
                      <a:pt x="350" y="70"/>
                    </a:lnTo>
                    <a:lnTo>
                      <a:pt x="350" y="69"/>
                    </a:lnTo>
                    <a:lnTo>
                      <a:pt x="352" y="68"/>
                    </a:lnTo>
                    <a:lnTo>
                      <a:pt x="354" y="68"/>
                    </a:lnTo>
                    <a:lnTo>
                      <a:pt x="357" y="68"/>
                    </a:lnTo>
                    <a:lnTo>
                      <a:pt x="358" y="69"/>
                    </a:lnTo>
                    <a:lnTo>
                      <a:pt x="359" y="70"/>
                    </a:lnTo>
                    <a:lnTo>
                      <a:pt x="359" y="73"/>
                    </a:lnTo>
                    <a:lnTo>
                      <a:pt x="358" y="74"/>
                    </a:lnTo>
                    <a:close/>
                    <a:moveTo>
                      <a:pt x="347" y="71"/>
                    </a:moveTo>
                    <a:lnTo>
                      <a:pt x="346" y="71"/>
                    </a:lnTo>
                    <a:lnTo>
                      <a:pt x="346" y="70"/>
                    </a:lnTo>
                    <a:lnTo>
                      <a:pt x="344" y="69"/>
                    </a:lnTo>
                    <a:lnTo>
                      <a:pt x="343" y="68"/>
                    </a:lnTo>
                    <a:lnTo>
                      <a:pt x="342" y="67"/>
                    </a:lnTo>
                    <a:lnTo>
                      <a:pt x="342" y="66"/>
                    </a:lnTo>
                    <a:lnTo>
                      <a:pt x="346" y="61"/>
                    </a:lnTo>
                    <a:lnTo>
                      <a:pt x="347" y="61"/>
                    </a:lnTo>
                    <a:lnTo>
                      <a:pt x="348" y="62"/>
                    </a:lnTo>
                    <a:lnTo>
                      <a:pt x="349" y="63"/>
                    </a:lnTo>
                    <a:lnTo>
                      <a:pt x="350" y="64"/>
                    </a:lnTo>
                    <a:lnTo>
                      <a:pt x="349" y="68"/>
                    </a:lnTo>
                    <a:lnTo>
                      <a:pt x="348" y="69"/>
                    </a:lnTo>
                    <a:lnTo>
                      <a:pt x="347" y="71"/>
                    </a:lnTo>
                    <a:close/>
                    <a:moveTo>
                      <a:pt x="397" y="13"/>
                    </a:moveTo>
                    <a:lnTo>
                      <a:pt x="397" y="14"/>
                    </a:lnTo>
                    <a:lnTo>
                      <a:pt x="396" y="14"/>
                    </a:lnTo>
                    <a:lnTo>
                      <a:pt x="394" y="15"/>
                    </a:lnTo>
                    <a:lnTo>
                      <a:pt x="394" y="17"/>
                    </a:lnTo>
                    <a:lnTo>
                      <a:pt x="393" y="17"/>
                    </a:lnTo>
                    <a:lnTo>
                      <a:pt x="392" y="17"/>
                    </a:lnTo>
                    <a:lnTo>
                      <a:pt x="386" y="17"/>
                    </a:lnTo>
                    <a:lnTo>
                      <a:pt x="385" y="17"/>
                    </a:lnTo>
                    <a:lnTo>
                      <a:pt x="384" y="15"/>
                    </a:lnTo>
                    <a:lnTo>
                      <a:pt x="384" y="14"/>
                    </a:lnTo>
                    <a:lnTo>
                      <a:pt x="384" y="13"/>
                    </a:lnTo>
                    <a:lnTo>
                      <a:pt x="386" y="12"/>
                    </a:lnTo>
                    <a:lnTo>
                      <a:pt x="389" y="12"/>
                    </a:lnTo>
                    <a:lnTo>
                      <a:pt x="391" y="13"/>
                    </a:lnTo>
                    <a:lnTo>
                      <a:pt x="392" y="13"/>
                    </a:lnTo>
                    <a:lnTo>
                      <a:pt x="396" y="13"/>
                    </a:lnTo>
                    <a:lnTo>
                      <a:pt x="397" y="13"/>
                    </a:lnTo>
                    <a:close/>
                    <a:moveTo>
                      <a:pt x="358" y="4"/>
                    </a:moveTo>
                    <a:lnTo>
                      <a:pt x="356" y="4"/>
                    </a:lnTo>
                    <a:lnTo>
                      <a:pt x="352" y="4"/>
                    </a:lnTo>
                    <a:lnTo>
                      <a:pt x="350" y="3"/>
                    </a:lnTo>
                    <a:lnTo>
                      <a:pt x="351" y="0"/>
                    </a:lnTo>
                    <a:lnTo>
                      <a:pt x="355" y="0"/>
                    </a:lnTo>
                    <a:lnTo>
                      <a:pt x="359" y="1"/>
                    </a:lnTo>
                    <a:lnTo>
                      <a:pt x="361" y="3"/>
                    </a:lnTo>
                    <a:lnTo>
                      <a:pt x="359" y="4"/>
                    </a:lnTo>
                    <a:lnTo>
                      <a:pt x="358" y="4"/>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sp>
            <p:nvSpPr>
              <p:cNvPr id="25" name="Freeform 27">
                <a:extLst>
                  <a:ext uri="{FF2B5EF4-FFF2-40B4-BE49-F238E27FC236}">
                    <a16:creationId xmlns:a16="http://schemas.microsoft.com/office/drawing/2014/main" id="{24CF44F5-5138-4768-866C-86CB781E6723}"/>
                  </a:ext>
                </a:extLst>
              </p:cNvPr>
              <p:cNvSpPr>
                <a:spLocks noEditPoints="1"/>
              </p:cNvSpPr>
              <p:nvPr/>
            </p:nvSpPr>
            <p:spPr bwMode="auto">
              <a:xfrm>
                <a:off x="6753225" y="5631977"/>
                <a:ext cx="414338" cy="506413"/>
              </a:xfrm>
              <a:custGeom>
                <a:avLst/>
                <a:gdLst>
                  <a:gd name="T0" fmla="*/ 166 w 261"/>
                  <a:gd name="T1" fmla="*/ 305 h 319"/>
                  <a:gd name="T2" fmla="*/ 164 w 261"/>
                  <a:gd name="T3" fmla="*/ 300 h 319"/>
                  <a:gd name="T4" fmla="*/ 174 w 261"/>
                  <a:gd name="T5" fmla="*/ 293 h 319"/>
                  <a:gd name="T6" fmla="*/ 178 w 261"/>
                  <a:gd name="T7" fmla="*/ 287 h 319"/>
                  <a:gd name="T8" fmla="*/ 217 w 261"/>
                  <a:gd name="T9" fmla="*/ 249 h 319"/>
                  <a:gd name="T10" fmla="*/ 235 w 261"/>
                  <a:gd name="T11" fmla="*/ 229 h 319"/>
                  <a:gd name="T12" fmla="*/ 74 w 261"/>
                  <a:gd name="T13" fmla="*/ 97 h 319"/>
                  <a:gd name="T14" fmla="*/ 90 w 261"/>
                  <a:gd name="T15" fmla="*/ 105 h 319"/>
                  <a:gd name="T16" fmla="*/ 119 w 261"/>
                  <a:gd name="T17" fmla="*/ 124 h 319"/>
                  <a:gd name="T18" fmla="*/ 154 w 261"/>
                  <a:gd name="T19" fmla="*/ 126 h 319"/>
                  <a:gd name="T20" fmla="*/ 166 w 261"/>
                  <a:gd name="T21" fmla="*/ 131 h 319"/>
                  <a:gd name="T22" fmla="*/ 192 w 261"/>
                  <a:gd name="T23" fmla="*/ 121 h 319"/>
                  <a:gd name="T24" fmla="*/ 221 w 261"/>
                  <a:gd name="T25" fmla="*/ 118 h 319"/>
                  <a:gd name="T26" fmla="*/ 246 w 261"/>
                  <a:gd name="T27" fmla="*/ 124 h 319"/>
                  <a:gd name="T28" fmla="*/ 241 w 261"/>
                  <a:gd name="T29" fmla="*/ 153 h 319"/>
                  <a:gd name="T30" fmla="*/ 239 w 261"/>
                  <a:gd name="T31" fmla="*/ 187 h 319"/>
                  <a:gd name="T32" fmla="*/ 238 w 261"/>
                  <a:gd name="T33" fmla="*/ 223 h 319"/>
                  <a:gd name="T34" fmla="*/ 232 w 261"/>
                  <a:gd name="T35" fmla="*/ 207 h 319"/>
                  <a:gd name="T36" fmla="*/ 228 w 261"/>
                  <a:gd name="T37" fmla="*/ 210 h 319"/>
                  <a:gd name="T38" fmla="*/ 217 w 261"/>
                  <a:gd name="T39" fmla="*/ 233 h 319"/>
                  <a:gd name="T40" fmla="*/ 212 w 261"/>
                  <a:gd name="T41" fmla="*/ 256 h 319"/>
                  <a:gd name="T42" fmla="*/ 211 w 261"/>
                  <a:gd name="T43" fmla="*/ 268 h 319"/>
                  <a:gd name="T44" fmla="*/ 211 w 261"/>
                  <a:gd name="T45" fmla="*/ 289 h 319"/>
                  <a:gd name="T46" fmla="*/ 202 w 261"/>
                  <a:gd name="T47" fmla="*/ 292 h 319"/>
                  <a:gd name="T48" fmla="*/ 196 w 261"/>
                  <a:gd name="T49" fmla="*/ 271 h 319"/>
                  <a:gd name="T50" fmla="*/ 205 w 261"/>
                  <a:gd name="T51" fmla="*/ 273 h 319"/>
                  <a:gd name="T52" fmla="*/ 185 w 261"/>
                  <a:gd name="T53" fmla="*/ 266 h 319"/>
                  <a:gd name="T54" fmla="*/ 184 w 261"/>
                  <a:gd name="T55" fmla="*/ 268 h 319"/>
                  <a:gd name="T56" fmla="*/ 175 w 261"/>
                  <a:gd name="T57" fmla="*/ 272 h 319"/>
                  <a:gd name="T58" fmla="*/ 167 w 261"/>
                  <a:gd name="T59" fmla="*/ 294 h 319"/>
                  <a:gd name="T60" fmla="*/ 155 w 261"/>
                  <a:gd name="T61" fmla="*/ 280 h 319"/>
                  <a:gd name="T62" fmla="*/ 155 w 261"/>
                  <a:gd name="T63" fmla="*/ 298 h 319"/>
                  <a:gd name="T64" fmla="*/ 147 w 261"/>
                  <a:gd name="T65" fmla="*/ 312 h 319"/>
                  <a:gd name="T66" fmla="*/ 129 w 261"/>
                  <a:gd name="T67" fmla="*/ 307 h 319"/>
                  <a:gd name="T68" fmla="*/ 110 w 261"/>
                  <a:gd name="T69" fmla="*/ 305 h 319"/>
                  <a:gd name="T70" fmla="*/ 96 w 261"/>
                  <a:gd name="T71" fmla="*/ 293 h 319"/>
                  <a:gd name="T72" fmla="*/ 111 w 261"/>
                  <a:gd name="T73" fmla="*/ 298 h 319"/>
                  <a:gd name="T74" fmla="*/ 98 w 261"/>
                  <a:gd name="T75" fmla="*/ 287 h 319"/>
                  <a:gd name="T76" fmla="*/ 91 w 261"/>
                  <a:gd name="T77" fmla="*/ 289 h 319"/>
                  <a:gd name="T78" fmla="*/ 83 w 261"/>
                  <a:gd name="T79" fmla="*/ 268 h 319"/>
                  <a:gd name="T80" fmla="*/ 67 w 261"/>
                  <a:gd name="T81" fmla="*/ 235 h 319"/>
                  <a:gd name="T82" fmla="*/ 64 w 261"/>
                  <a:gd name="T83" fmla="*/ 206 h 319"/>
                  <a:gd name="T84" fmla="*/ 81 w 261"/>
                  <a:gd name="T85" fmla="*/ 217 h 319"/>
                  <a:gd name="T86" fmla="*/ 70 w 261"/>
                  <a:gd name="T87" fmla="*/ 199 h 319"/>
                  <a:gd name="T88" fmla="*/ 54 w 261"/>
                  <a:gd name="T89" fmla="*/ 167 h 319"/>
                  <a:gd name="T90" fmla="*/ 40 w 261"/>
                  <a:gd name="T91" fmla="*/ 126 h 319"/>
                  <a:gd name="T92" fmla="*/ 45 w 261"/>
                  <a:gd name="T93" fmla="*/ 84 h 319"/>
                  <a:gd name="T94" fmla="*/ 58 w 261"/>
                  <a:gd name="T95" fmla="*/ 83 h 319"/>
                  <a:gd name="T96" fmla="*/ 247 w 261"/>
                  <a:gd name="T97" fmla="*/ 93 h 319"/>
                  <a:gd name="T98" fmla="*/ 48 w 261"/>
                  <a:gd name="T99" fmla="*/ 70 h 319"/>
                  <a:gd name="T100" fmla="*/ 60 w 261"/>
                  <a:gd name="T101" fmla="*/ 65 h 319"/>
                  <a:gd name="T102" fmla="*/ 256 w 261"/>
                  <a:gd name="T103" fmla="*/ 93 h 319"/>
                  <a:gd name="T104" fmla="*/ 234 w 261"/>
                  <a:gd name="T105" fmla="*/ 86 h 319"/>
                  <a:gd name="T106" fmla="*/ 247 w 261"/>
                  <a:gd name="T107" fmla="*/ 51 h 319"/>
                  <a:gd name="T108" fmla="*/ 254 w 261"/>
                  <a:gd name="T109" fmla="*/ 73 h 319"/>
                  <a:gd name="T110" fmla="*/ 237 w 261"/>
                  <a:gd name="T111" fmla="*/ 62 h 319"/>
                  <a:gd name="T112" fmla="*/ 224 w 261"/>
                  <a:gd name="T113" fmla="*/ 44 h 319"/>
                  <a:gd name="T114" fmla="*/ 3 w 261"/>
                  <a:gd name="T115" fmla="*/ 41 h 319"/>
                  <a:gd name="T116" fmla="*/ 3 w 261"/>
                  <a:gd name="T117" fmla="*/ 12 h 319"/>
                  <a:gd name="T118" fmla="*/ 17 w 261"/>
                  <a:gd name="T119" fmla="*/ 13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61" h="319">
                    <a:moveTo>
                      <a:pt x="174" y="303"/>
                    </a:moveTo>
                    <a:lnTo>
                      <a:pt x="174" y="304"/>
                    </a:lnTo>
                    <a:lnTo>
                      <a:pt x="174" y="305"/>
                    </a:lnTo>
                    <a:lnTo>
                      <a:pt x="173" y="305"/>
                    </a:lnTo>
                    <a:lnTo>
                      <a:pt x="173" y="306"/>
                    </a:lnTo>
                    <a:lnTo>
                      <a:pt x="173" y="307"/>
                    </a:lnTo>
                    <a:lnTo>
                      <a:pt x="171" y="307"/>
                    </a:lnTo>
                    <a:lnTo>
                      <a:pt x="171" y="310"/>
                    </a:lnTo>
                    <a:lnTo>
                      <a:pt x="170" y="312"/>
                    </a:lnTo>
                    <a:lnTo>
                      <a:pt x="169" y="312"/>
                    </a:lnTo>
                    <a:lnTo>
                      <a:pt x="168" y="311"/>
                    </a:lnTo>
                    <a:lnTo>
                      <a:pt x="167" y="311"/>
                    </a:lnTo>
                    <a:lnTo>
                      <a:pt x="167" y="310"/>
                    </a:lnTo>
                    <a:lnTo>
                      <a:pt x="166" y="310"/>
                    </a:lnTo>
                    <a:lnTo>
                      <a:pt x="166" y="308"/>
                    </a:lnTo>
                    <a:lnTo>
                      <a:pt x="167" y="308"/>
                    </a:lnTo>
                    <a:lnTo>
                      <a:pt x="167" y="307"/>
                    </a:lnTo>
                    <a:lnTo>
                      <a:pt x="166" y="306"/>
                    </a:lnTo>
                    <a:lnTo>
                      <a:pt x="167" y="306"/>
                    </a:lnTo>
                    <a:lnTo>
                      <a:pt x="166" y="305"/>
                    </a:lnTo>
                    <a:lnTo>
                      <a:pt x="164" y="305"/>
                    </a:lnTo>
                    <a:lnTo>
                      <a:pt x="164" y="308"/>
                    </a:lnTo>
                    <a:lnTo>
                      <a:pt x="163" y="310"/>
                    </a:lnTo>
                    <a:lnTo>
                      <a:pt x="162" y="311"/>
                    </a:lnTo>
                    <a:lnTo>
                      <a:pt x="161" y="311"/>
                    </a:lnTo>
                    <a:lnTo>
                      <a:pt x="160" y="310"/>
                    </a:lnTo>
                    <a:lnTo>
                      <a:pt x="160" y="307"/>
                    </a:lnTo>
                    <a:lnTo>
                      <a:pt x="160" y="306"/>
                    </a:lnTo>
                    <a:lnTo>
                      <a:pt x="159" y="306"/>
                    </a:lnTo>
                    <a:lnTo>
                      <a:pt x="159" y="305"/>
                    </a:lnTo>
                    <a:lnTo>
                      <a:pt x="159" y="304"/>
                    </a:lnTo>
                    <a:lnTo>
                      <a:pt x="160" y="304"/>
                    </a:lnTo>
                    <a:lnTo>
                      <a:pt x="162" y="307"/>
                    </a:lnTo>
                    <a:lnTo>
                      <a:pt x="163" y="307"/>
                    </a:lnTo>
                    <a:lnTo>
                      <a:pt x="163" y="306"/>
                    </a:lnTo>
                    <a:lnTo>
                      <a:pt x="163" y="303"/>
                    </a:lnTo>
                    <a:lnTo>
                      <a:pt x="163" y="301"/>
                    </a:lnTo>
                    <a:lnTo>
                      <a:pt x="163" y="300"/>
                    </a:lnTo>
                    <a:lnTo>
                      <a:pt x="164" y="299"/>
                    </a:lnTo>
                    <a:lnTo>
                      <a:pt x="164" y="300"/>
                    </a:lnTo>
                    <a:lnTo>
                      <a:pt x="166" y="301"/>
                    </a:lnTo>
                    <a:lnTo>
                      <a:pt x="166" y="303"/>
                    </a:lnTo>
                    <a:lnTo>
                      <a:pt x="167" y="301"/>
                    </a:lnTo>
                    <a:lnTo>
                      <a:pt x="167" y="300"/>
                    </a:lnTo>
                    <a:lnTo>
                      <a:pt x="167" y="299"/>
                    </a:lnTo>
                    <a:lnTo>
                      <a:pt x="167" y="298"/>
                    </a:lnTo>
                    <a:lnTo>
                      <a:pt x="168" y="297"/>
                    </a:lnTo>
                    <a:lnTo>
                      <a:pt x="170" y="294"/>
                    </a:lnTo>
                    <a:lnTo>
                      <a:pt x="171" y="293"/>
                    </a:lnTo>
                    <a:lnTo>
                      <a:pt x="173" y="299"/>
                    </a:lnTo>
                    <a:lnTo>
                      <a:pt x="173" y="300"/>
                    </a:lnTo>
                    <a:lnTo>
                      <a:pt x="174" y="301"/>
                    </a:lnTo>
                    <a:lnTo>
                      <a:pt x="174" y="303"/>
                    </a:lnTo>
                    <a:close/>
                    <a:moveTo>
                      <a:pt x="178" y="292"/>
                    </a:moveTo>
                    <a:lnTo>
                      <a:pt x="178" y="293"/>
                    </a:lnTo>
                    <a:lnTo>
                      <a:pt x="177" y="292"/>
                    </a:lnTo>
                    <a:lnTo>
                      <a:pt x="176" y="292"/>
                    </a:lnTo>
                    <a:lnTo>
                      <a:pt x="176" y="293"/>
                    </a:lnTo>
                    <a:lnTo>
                      <a:pt x="175" y="293"/>
                    </a:lnTo>
                    <a:lnTo>
                      <a:pt x="174" y="293"/>
                    </a:lnTo>
                    <a:lnTo>
                      <a:pt x="174" y="291"/>
                    </a:lnTo>
                    <a:lnTo>
                      <a:pt x="175" y="290"/>
                    </a:lnTo>
                    <a:lnTo>
                      <a:pt x="176" y="290"/>
                    </a:lnTo>
                    <a:lnTo>
                      <a:pt x="176" y="289"/>
                    </a:lnTo>
                    <a:lnTo>
                      <a:pt x="176" y="287"/>
                    </a:lnTo>
                    <a:lnTo>
                      <a:pt x="173" y="287"/>
                    </a:lnTo>
                    <a:lnTo>
                      <a:pt x="171" y="286"/>
                    </a:lnTo>
                    <a:lnTo>
                      <a:pt x="171" y="285"/>
                    </a:lnTo>
                    <a:lnTo>
                      <a:pt x="173" y="285"/>
                    </a:lnTo>
                    <a:lnTo>
                      <a:pt x="175" y="284"/>
                    </a:lnTo>
                    <a:lnTo>
                      <a:pt x="174" y="283"/>
                    </a:lnTo>
                    <a:lnTo>
                      <a:pt x="174" y="282"/>
                    </a:lnTo>
                    <a:lnTo>
                      <a:pt x="175" y="280"/>
                    </a:lnTo>
                    <a:lnTo>
                      <a:pt x="176" y="279"/>
                    </a:lnTo>
                    <a:lnTo>
                      <a:pt x="176" y="282"/>
                    </a:lnTo>
                    <a:lnTo>
                      <a:pt x="177" y="283"/>
                    </a:lnTo>
                    <a:lnTo>
                      <a:pt x="178" y="284"/>
                    </a:lnTo>
                    <a:lnTo>
                      <a:pt x="177" y="285"/>
                    </a:lnTo>
                    <a:lnTo>
                      <a:pt x="178" y="286"/>
                    </a:lnTo>
                    <a:lnTo>
                      <a:pt x="178" y="287"/>
                    </a:lnTo>
                    <a:lnTo>
                      <a:pt x="178" y="289"/>
                    </a:lnTo>
                    <a:lnTo>
                      <a:pt x="178" y="291"/>
                    </a:lnTo>
                    <a:lnTo>
                      <a:pt x="178" y="292"/>
                    </a:lnTo>
                    <a:close/>
                    <a:moveTo>
                      <a:pt x="225" y="252"/>
                    </a:moveTo>
                    <a:lnTo>
                      <a:pt x="223" y="254"/>
                    </a:lnTo>
                    <a:lnTo>
                      <a:pt x="220" y="254"/>
                    </a:lnTo>
                    <a:lnTo>
                      <a:pt x="219" y="254"/>
                    </a:lnTo>
                    <a:lnTo>
                      <a:pt x="219" y="256"/>
                    </a:lnTo>
                    <a:lnTo>
                      <a:pt x="220" y="257"/>
                    </a:lnTo>
                    <a:lnTo>
                      <a:pt x="217" y="257"/>
                    </a:lnTo>
                    <a:lnTo>
                      <a:pt x="216" y="258"/>
                    </a:lnTo>
                    <a:lnTo>
                      <a:pt x="214" y="259"/>
                    </a:lnTo>
                    <a:lnTo>
                      <a:pt x="214" y="257"/>
                    </a:lnTo>
                    <a:lnTo>
                      <a:pt x="216" y="257"/>
                    </a:lnTo>
                    <a:lnTo>
                      <a:pt x="216" y="256"/>
                    </a:lnTo>
                    <a:lnTo>
                      <a:pt x="217" y="254"/>
                    </a:lnTo>
                    <a:lnTo>
                      <a:pt x="216" y="252"/>
                    </a:lnTo>
                    <a:lnTo>
                      <a:pt x="216" y="251"/>
                    </a:lnTo>
                    <a:lnTo>
                      <a:pt x="216" y="250"/>
                    </a:lnTo>
                    <a:lnTo>
                      <a:pt x="217" y="249"/>
                    </a:lnTo>
                    <a:lnTo>
                      <a:pt x="218" y="248"/>
                    </a:lnTo>
                    <a:lnTo>
                      <a:pt x="219" y="248"/>
                    </a:lnTo>
                    <a:lnTo>
                      <a:pt x="220" y="247"/>
                    </a:lnTo>
                    <a:lnTo>
                      <a:pt x="221" y="248"/>
                    </a:lnTo>
                    <a:lnTo>
                      <a:pt x="223" y="248"/>
                    </a:lnTo>
                    <a:lnTo>
                      <a:pt x="223" y="249"/>
                    </a:lnTo>
                    <a:lnTo>
                      <a:pt x="223" y="250"/>
                    </a:lnTo>
                    <a:lnTo>
                      <a:pt x="224" y="251"/>
                    </a:lnTo>
                    <a:lnTo>
                      <a:pt x="225" y="252"/>
                    </a:lnTo>
                    <a:close/>
                    <a:moveTo>
                      <a:pt x="235" y="231"/>
                    </a:moveTo>
                    <a:lnTo>
                      <a:pt x="234" y="230"/>
                    </a:lnTo>
                    <a:lnTo>
                      <a:pt x="233" y="229"/>
                    </a:lnTo>
                    <a:lnTo>
                      <a:pt x="232" y="229"/>
                    </a:lnTo>
                    <a:lnTo>
                      <a:pt x="231" y="228"/>
                    </a:lnTo>
                    <a:lnTo>
                      <a:pt x="231" y="227"/>
                    </a:lnTo>
                    <a:lnTo>
                      <a:pt x="232" y="227"/>
                    </a:lnTo>
                    <a:lnTo>
                      <a:pt x="233" y="227"/>
                    </a:lnTo>
                    <a:lnTo>
                      <a:pt x="234" y="228"/>
                    </a:lnTo>
                    <a:lnTo>
                      <a:pt x="235" y="228"/>
                    </a:lnTo>
                    <a:lnTo>
                      <a:pt x="235" y="229"/>
                    </a:lnTo>
                    <a:lnTo>
                      <a:pt x="235" y="230"/>
                    </a:lnTo>
                    <a:lnTo>
                      <a:pt x="237" y="231"/>
                    </a:lnTo>
                    <a:lnTo>
                      <a:pt x="235" y="231"/>
                    </a:lnTo>
                    <a:close/>
                    <a:moveTo>
                      <a:pt x="48" y="89"/>
                    </a:moveTo>
                    <a:lnTo>
                      <a:pt x="48" y="90"/>
                    </a:lnTo>
                    <a:lnTo>
                      <a:pt x="49" y="89"/>
                    </a:lnTo>
                    <a:lnTo>
                      <a:pt x="51" y="89"/>
                    </a:lnTo>
                    <a:lnTo>
                      <a:pt x="55" y="91"/>
                    </a:lnTo>
                    <a:lnTo>
                      <a:pt x="57" y="93"/>
                    </a:lnTo>
                    <a:lnTo>
                      <a:pt x="60" y="91"/>
                    </a:lnTo>
                    <a:lnTo>
                      <a:pt x="61" y="93"/>
                    </a:lnTo>
                    <a:lnTo>
                      <a:pt x="62" y="94"/>
                    </a:lnTo>
                    <a:lnTo>
                      <a:pt x="64" y="95"/>
                    </a:lnTo>
                    <a:lnTo>
                      <a:pt x="65" y="97"/>
                    </a:lnTo>
                    <a:lnTo>
                      <a:pt x="67" y="97"/>
                    </a:lnTo>
                    <a:lnTo>
                      <a:pt x="68" y="98"/>
                    </a:lnTo>
                    <a:lnTo>
                      <a:pt x="69" y="98"/>
                    </a:lnTo>
                    <a:lnTo>
                      <a:pt x="69" y="97"/>
                    </a:lnTo>
                    <a:lnTo>
                      <a:pt x="69" y="96"/>
                    </a:lnTo>
                    <a:lnTo>
                      <a:pt x="74" y="97"/>
                    </a:lnTo>
                    <a:lnTo>
                      <a:pt x="75" y="97"/>
                    </a:lnTo>
                    <a:lnTo>
                      <a:pt x="76" y="96"/>
                    </a:lnTo>
                    <a:lnTo>
                      <a:pt x="76" y="94"/>
                    </a:lnTo>
                    <a:lnTo>
                      <a:pt x="76" y="93"/>
                    </a:lnTo>
                    <a:lnTo>
                      <a:pt x="76" y="91"/>
                    </a:lnTo>
                    <a:lnTo>
                      <a:pt x="77" y="91"/>
                    </a:lnTo>
                    <a:lnTo>
                      <a:pt x="78" y="93"/>
                    </a:lnTo>
                    <a:lnTo>
                      <a:pt x="78" y="95"/>
                    </a:lnTo>
                    <a:lnTo>
                      <a:pt x="77" y="95"/>
                    </a:lnTo>
                    <a:lnTo>
                      <a:pt x="76" y="96"/>
                    </a:lnTo>
                    <a:lnTo>
                      <a:pt x="76" y="97"/>
                    </a:lnTo>
                    <a:lnTo>
                      <a:pt x="76" y="98"/>
                    </a:lnTo>
                    <a:lnTo>
                      <a:pt x="78" y="100"/>
                    </a:lnTo>
                    <a:lnTo>
                      <a:pt x="79" y="101"/>
                    </a:lnTo>
                    <a:lnTo>
                      <a:pt x="81" y="102"/>
                    </a:lnTo>
                    <a:lnTo>
                      <a:pt x="83" y="102"/>
                    </a:lnTo>
                    <a:lnTo>
                      <a:pt x="85" y="103"/>
                    </a:lnTo>
                    <a:lnTo>
                      <a:pt x="86" y="103"/>
                    </a:lnTo>
                    <a:lnTo>
                      <a:pt x="90" y="102"/>
                    </a:lnTo>
                    <a:lnTo>
                      <a:pt x="90" y="105"/>
                    </a:lnTo>
                    <a:lnTo>
                      <a:pt x="92" y="108"/>
                    </a:lnTo>
                    <a:lnTo>
                      <a:pt x="95" y="109"/>
                    </a:lnTo>
                    <a:lnTo>
                      <a:pt x="100" y="110"/>
                    </a:lnTo>
                    <a:lnTo>
                      <a:pt x="102" y="110"/>
                    </a:lnTo>
                    <a:lnTo>
                      <a:pt x="102" y="112"/>
                    </a:lnTo>
                    <a:lnTo>
                      <a:pt x="102" y="114"/>
                    </a:lnTo>
                    <a:lnTo>
                      <a:pt x="103" y="115"/>
                    </a:lnTo>
                    <a:lnTo>
                      <a:pt x="104" y="116"/>
                    </a:lnTo>
                    <a:lnTo>
                      <a:pt x="105" y="117"/>
                    </a:lnTo>
                    <a:lnTo>
                      <a:pt x="106" y="118"/>
                    </a:lnTo>
                    <a:lnTo>
                      <a:pt x="107" y="118"/>
                    </a:lnTo>
                    <a:lnTo>
                      <a:pt x="110" y="118"/>
                    </a:lnTo>
                    <a:lnTo>
                      <a:pt x="111" y="119"/>
                    </a:lnTo>
                    <a:lnTo>
                      <a:pt x="111" y="121"/>
                    </a:lnTo>
                    <a:lnTo>
                      <a:pt x="112" y="121"/>
                    </a:lnTo>
                    <a:lnTo>
                      <a:pt x="113" y="121"/>
                    </a:lnTo>
                    <a:lnTo>
                      <a:pt x="114" y="121"/>
                    </a:lnTo>
                    <a:lnTo>
                      <a:pt x="117" y="123"/>
                    </a:lnTo>
                    <a:lnTo>
                      <a:pt x="118" y="124"/>
                    </a:lnTo>
                    <a:lnTo>
                      <a:pt x="119" y="124"/>
                    </a:lnTo>
                    <a:lnTo>
                      <a:pt x="119" y="125"/>
                    </a:lnTo>
                    <a:lnTo>
                      <a:pt x="121" y="126"/>
                    </a:lnTo>
                    <a:lnTo>
                      <a:pt x="127" y="129"/>
                    </a:lnTo>
                    <a:lnTo>
                      <a:pt x="134" y="131"/>
                    </a:lnTo>
                    <a:lnTo>
                      <a:pt x="139" y="131"/>
                    </a:lnTo>
                    <a:lnTo>
                      <a:pt x="142" y="130"/>
                    </a:lnTo>
                    <a:lnTo>
                      <a:pt x="146" y="129"/>
                    </a:lnTo>
                    <a:lnTo>
                      <a:pt x="146" y="130"/>
                    </a:lnTo>
                    <a:lnTo>
                      <a:pt x="146" y="131"/>
                    </a:lnTo>
                    <a:lnTo>
                      <a:pt x="146" y="132"/>
                    </a:lnTo>
                    <a:lnTo>
                      <a:pt x="147" y="132"/>
                    </a:lnTo>
                    <a:lnTo>
                      <a:pt x="148" y="133"/>
                    </a:lnTo>
                    <a:lnTo>
                      <a:pt x="148" y="132"/>
                    </a:lnTo>
                    <a:lnTo>
                      <a:pt x="147" y="131"/>
                    </a:lnTo>
                    <a:lnTo>
                      <a:pt x="148" y="131"/>
                    </a:lnTo>
                    <a:lnTo>
                      <a:pt x="150" y="129"/>
                    </a:lnTo>
                    <a:lnTo>
                      <a:pt x="152" y="128"/>
                    </a:lnTo>
                    <a:lnTo>
                      <a:pt x="152" y="126"/>
                    </a:lnTo>
                    <a:lnTo>
                      <a:pt x="153" y="126"/>
                    </a:lnTo>
                    <a:lnTo>
                      <a:pt x="154" y="126"/>
                    </a:lnTo>
                    <a:lnTo>
                      <a:pt x="155" y="126"/>
                    </a:lnTo>
                    <a:lnTo>
                      <a:pt x="156" y="125"/>
                    </a:lnTo>
                    <a:lnTo>
                      <a:pt x="157" y="125"/>
                    </a:lnTo>
                    <a:lnTo>
                      <a:pt x="159" y="125"/>
                    </a:lnTo>
                    <a:lnTo>
                      <a:pt x="159" y="126"/>
                    </a:lnTo>
                    <a:lnTo>
                      <a:pt x="160" y="126"/>
                    </a:lnTo>
                    <a:lnTo>
                      <a:pt x="160" y="128"/>
                    </a:lnTo>
                    <a:lnTo>
                      <a:pt x="161" y="129"/>
                    </a:lnTo>
                    <a:lnTo>
                      <a:pt x="161" y="131"/>
                    </a:lnTo>
                    <a:lnTo>
                      <a:pt x="160" y="131"/>
                    </a:lnTo>
                    <a:lnTo>
                      <a:pt x="160" y="132"/>
                    </a:lnTo>
                    <a:lnTo>
                      <a:pt x="161" y="133"/>
                    </a:lnTo>
                    <a:lnTo>
                      <a:pt x="162" y="133"/>
                    </a:lnTo>
                    <a:lnTo>
                      <a:pt x="163" y="133"/>
                    </a:lnTo>
                    <a:lnTo>
                      <a:pt x="164" y="133"/>
                    </a:lnTo>
                    <a:lnTo>
                      <a:pt x="166" y="133"/>
                    </a:lnTo>
                    <a:lnTo>
                      <a:pt x="167" y="133"/>
                    </a:lnTo>
                    <a:lnTo>
                      <a:pt x="168" y="133"/>
                    </a:lnTo>
                    <a:lnTo>
                      <a:pt x="167" y="132"/>
                    </a:lnTo>
                    <a:lnTo>
                      <a:pt x="166" y="131"/>
                    </a:lnTo>
                    <a:lnTo>
                      <a:pt x="163" y="130"/>
                    </a:lnTo>
                    <a:lnTo>
                      <a:pt x="162" y="130"/>
                    </a:lnTo>
                    <a:lnTo>
                      <a:pt x="162" y="129"/>
                    </a:lnTo>
                    <a:lnTo>
                      <a:pt x="162" y="126"/>
                    </a:lnTo>
                    <a:lnTo>
                      <a:pt x="163" y="124"/>
                    </a:lnTo>
                    <a:lnTo>
                      <a:pt x="166" y="123"/>
                    </a:lnTo>
                    <a:lnTo>
                      <a:pt x="168" y="123"/>
                    </a:lnTo>
                    <a:lnTo>
                      <a:pt x="170" y="122"/>
                    </a:lnTo>
                    <a:lnTo>
                      <a:pt x="171" y="122"/>
                    </a:lnTo>
                    <a:lnTo>
                      <a:pt x="171" y="121"/>
                    </a:lnTo>
                    <a:lnTo>
                      <a:pt x="173" y="121"/>
                    </a:lnTo>
                    <a:lnTo>
                      <a:pt x="174" y="121"/>
                    </a:lnTo>
                    <a:lnTo>
                      <a:pt x="174" y="122"/>
                    </a:lnTo>
                    <a:lnTo>
                      <a:pt x="175" y="122"/>
                    </a:lnTo>
                    <a:lnTo>
                      <a:pt x="182" y="123"/>
                    </a:lnTo>
                    <a:lnTo>
                      <a:pt x="184" y="123"/>
                    </a:lnTo>
                    <a:lnTo>
                      <a:pt x="189" y="119"/>
                    </a:lnTo>
                    <a:lnTo>
                      <a:pt x="189" y="121"/>
                    </a:lnTo>
                    <a:lnTo>
                      <a:pt x="192" y="119"/>
                    </a:lnTo>
                    <a:lnTo>
                      <a:pt x="192" y="121"/>
                    </a:lnTo>
                    <a:lnTo>
                      <a:pt x="192" y="122"/>
                    </a:lnTo>
                    <a:lnTo>
                      <a:pt x="193" y="122"/>
                    </a:lnTo>
                    <a:lnTo>
                      <a:pt x="195" y="123"/>
                    </a:lnTo>
                    <a:lnTo>
                      <a:pt x="195" y="124"/>
                    </a:lnTo>
                    <a:lnTo>
                      <a:pt x="197" y="125"/>
                    </a:lnTo>
                    <a:lnTo>
                      <a:pt x="199" y="124"/>
                    </a:lnTo>
                    <a:lnTo>
                      <a:pt x="202" y="122"/>
                    </a:lnTo>
                    <a:lnTo>
                      <a:pt x="206" y="116"/>
                    </a:lnTo>
                    <a:lnTo>
                      <a:pt x="206" y="115"/>
                    </a:lnTo>
                    <a:lnTo>
                      <a:pt x="207" y="114"/>
                    </a:lnTo>
                    <a:lnTo>
                      <a:pt x="210" y="114"/>
                    </a:lnTo>
                    <a:lnTo>
                      <a:pt x="211" y="114"/>
                    </a:lnTo>
                    <a:lnTo>
                      <a:pt x="212" y="114"/>
                    </a:lnTo>
                    <a:lnTo>
                      <a:pt x="213" y="115"/>
                    </a:lnTo>
                    <a:lnTo>
                      <a:pt x="213" y="116"/>
                    </a:lnTo>
                    <a:lnTo>
                      <a:pt x="216" y="116"/>
                    </a:lnTo>
                    <a:lnTo>
                      <a:pt x="217" y="117"/>
                    </a:lnTo>
                    <a:lnTo>
                      <a:pt x="218" y="118"/>
                    </a:lnTo>
                    <a:lnTo>
                      <a:pt x="219" y="119"/>
                    </a:lnTo>
                    <a:lnTo>
                      <a:pt x="221" y="118"/>
                    </a:lnTo>
                    <a:lnTo>
                      <a:pt x="224" y="118"/>
                    </a:lnTo>
                    <a:lnTo>
                      <a:pt x="225" y="117"/>
                    </a:lnTo>
                    <a:lnTo>
                      <a:pt x="226" y="115"/>
                    </a:lnTo>
                    <a:lnTo>
                      <a:pt x="227" y="112"/>
                    </a:lnTo>
                    <a:lnTo>
                      <a:pt x="227" y="110"/>
                    </a:lnTo>
                    <a:lnTo>
                      <a:pt x="228" y="109"/>
                    </a:lnTo>
                    <a:lnTo>
                      <a:pt x="230" y="108"/>
                    </a:lnTo>
                    <a:lnTo>
                      <a:pt x="231" y="109"/>
                    </a:lnTo>
                    <a:lnTo>
                      <a:pt x="232" y="109"/>
                    </a:lnTo>
                    <a:lnTo>
                      <a:pt x="233" y="110"/>
                    </a:lnTo>
                    <a:lnTo>
                      <a:pt x="233" y="111"/>
                    </a:lnTo>
                    <a:lnTo>
                      <a:pt x="234" y="111"/>
                    </a:lnTo>
                    <a:lnTo>
                      <a:pt x="235" y="111"/>
                    </a:lnTo>
                    <a:lnTo>
                      <a:pt x="235" y="112"/>
                    </a:lnTo>
                    <a:lnTo>
                      <a:pt x="237" y="114"/>
                    </a:lnTo>
                    <a:lnTo>
                      <a:pt x="238" y="116"/>
                    </a:lnTo>
                    <a:lnTo>
                      <a:pt x="238" y="117"/>
                    </a:lnTo>
                    <a:lnTo>
                      <a:pt x="239" y="117"/>
                    </a:lnTo>
                    <a:lnTo>
                      <a:pt x="241" y="117"/>
                    </a:lnTo>
                    <a:lnTo>
                      <a:pt x="246" y="124"/>
                    </a:lnTo>
                    <a:lnTo>
                      <a:pt x="247" y="128"/>
                    </a:lnTo>
                    <a:lnTo>
                      <a:pt x="247" y="129"/>
                    </a:lnTo>
                    <a:lnTo>
                      <a:pt x="247" y="130"/>
                    </a:lnTo>
                    <a:lnTo>
                      <a:pt x="247" y="131"/>
                    </a:lnTo>
                    <a:lnTo>
                      <a:pt x="246" y="131"/>
                    </a:lnTo>
                    <a:lnTo>
                      <a:pt x="245" y="132"/>
                    </a:lnTo>
                    <a:lnTo>
                      <a:pt x="243" y="132"/>
                    </a:lnTo>
                    <a:lnTo>
                      <a:pt x="243" y="133"/>
                    </a:lnTo>
                    <a:lnTo>
                      <a:pt x="245" y="133"/>
                    </a:lnTo>
                    <a:lnTo>
                      <a:pt x="245" y="135"/>
                    </a:lnTo>
                    <a:lnTo>
                      <a:pt x="243" y="138"/>
                    </a:lnTo>
                    <a:lnTo>
                      <a:pt x="243" y="139"/>
                    </a:lnTo>
                    <a:lnTo>
                      <a:pt x="242" y="142"/>
                    </a:lnTo>
                    <a:lnTo>
                      <a:pt x="242" y="143"/>
                    </a:lnTo>
                    <a:lnTo>
                      <a:pt x="242" y="145"/>
                    </a:lnTo>
                    <a:lnTo>
                      <a:pt x="242" y="146"/>
                    </a:lnTo>
                    <a:lnTo>
                      <a:pt x="245" y="149"/>
                    </a:lnTo>
                    <a:lnTo>
                      <a:pt x="245" y="150"/>
                    </a:lnTo>
                    <a:lnTo>
                      <a:pt x="243" y="151"/>
                    </a:lnTo>
                    <a:lnTo>
                      <a:pt x="241" y="153"/>
                    </a:lnTo>
                    <a:lnTo>
                      <a:pt x="240" y="154"/>
                    </a:lnTo>
                    <a:lnTo>
                      <a:pt x="240" y="156"/>
                    </a:lnTo>
                    <a:lnTo>
                      <a:pt x="245" y="152"/>
                    </a:lnTo>
                    <a:lnTo>
                      <a:pt x="246" y="152"/>
                    </a:lnTo>
                    <a:lnTo>
                      <a:pt x="245" y="154"/>
                    </a:lnTo>
                    <a:lnTo>
                      <a:pt x="240" y="164"/>
                    </a:lnTo>
                    <a:lnTo>
                      <a:pt x="240" y="165"/>
                    </a:lnTo>
                    <a:lnTo>
                      <a:pt x="240" y="166"/>
                    </a:lnTo>
                    <a:lnTo>
                      <a:pt x="240" y="167"/>
                    </a:lnTo>
                    <a:lnTo>
                      <a:pt x="240" y="168"/>
                    </a:lnTo>
                    <a:lnTo>
                      <a:pt x="240" y="170"/>
                    </a:lnTo>
                    <a:lnTo>
                      <a:pt x="241" y="173"/>
                    </a:lnTo>
                    <a:lnTo>
                      <a:pt x="241" y="174"/>
                    </a:lnTo>
                    <a:lnTo>
                      <a:pt x="241" y="175"/>
                    </a:lnTo>
                    <a:lnTo>
                      <a:pt x="241" y="177"/>
                    </a:lnTo>
                    <a:lnTo>
                      <a:pt x="240" y="179"/>
                    </a:lnTo>
                    <a:lnTo>
                      <a:pt x="239" y="180"/>
                    </a:lnTo>
                    <a:lnTo>
                      <a:pt x="239" y="181"/>
                    </a:lnTo>
                    <a:lnTo>
                      <a:pt x="239" y="186"/>
                    </a:lnTo>
                    <a:lnTo>
                      <a:pt x="239" y="187"/>
                    </a:lnTo>
                    <a:lnTo>
                      <a:pt x="238" y="188"/>
                    </a:lnTo>
                    <a:lnTo>
                      <a:pt x="237" y="189"/>
                    </a:lnTo>
                    <a:lnTo>
                      <a:pt x="237" y="191"/>
                    </a:lnTo>
                    <a:lnTo>
                      <a:pt x="237" y="192"/>
                    </a:lnTo>
                    <a:lnTo>
                      <a:pt x="238" y="194"/>
                    </a:lnTo>
                    <a:lnTo>
                      <a:pt x="238" y="195"/>
                    </a:lnTo>
                    <a:lnTo>
                      <a:pt x="239" y="196"/>
                    </a:lnTo>
                    <a:lnTo>
                      <a:pt x="239" y="198"/>
                    </a:lnTo>
                    <a:lnTo>
                      <a:pt x="239" y="199"/>
                    </a:lnTo>
                    <a:lnTo>
                      <a:pt x="238" y="201"/>
                    </a:lnTo>
                    <a:lnTo>
                      <a:pt x="237" y="205"/>
                    </a:lnTo>
                    <a:lnTo>
                      <a:pt x="237" y="208"/>
                    </a:lnTo>
                    <a:lnTo>
                      <a:pt x="240" y="213"/>
                    </a:lnTo>
                    <a:lnTo>
                      <a:pt x="240" y="214"/>
                    </a:lnTo>
                    <a:lnTo>
                      <a:pt x="239" y="214"/>
                    </a:lnTo>
                    <a:lnTo>
                      <a:pt x="237" y="216"/>
                    </a:lnTo>
                    <a:lnTo>
                      <a:pt x="237" y="217"/>
                    </a:lnTo>
                    <a:lnTo>
                      <a:pt x="239" y="219"/>
                    </a:lnTo>
                    <a:lnTo>
                      <a:pt x="239" y="220"/>
                    </a:lnTo>
                    <a:lnTo>
                      <a:pt x="238" y="223"/>
                    </a:lnTo>
                    <a:lnTo>
                      <a:pt x="237" y="224"/>
                    </a:lnTo>
                    <a:lnTo>
                      <a:pt x="235" y="226"/>
                    </a:lnTo>
                    <a:lnTo>
                      <a:pt x="234" y="224"/>
                    </a:lnTo>
                    <a:lnTo>
                      <a:pt x="233" y="223"/>
                    </a:lnTo>
                    <a:lnTo>
                      <a:pt x="233" y="222"/>
                    </a:lnTo>
                    <a:lnTo>
                      <a:pt x="234" y="221"/>
                    </a:lnTo>
                    <a:lnTo>
                      <a:pt x="235" y="220"/>
                    </a:lnTo>
                    <a:lnTo>
                      <a:pt x="235" y="219"/>
                    </a:lnTo>
                    <a:lnTo>
                      <a:pt x="235" y="217"/>
                    </a:lnTo>
                    <a:lnTo>
                      <a:pt x="234" y="216"/>
                    </a:lnTo>
                    <a:lnTo>
                      <a:pt x="235" y="215"/>
                    </a:lnTo>
                    <a:lnTo>
                      <a:pt x="237" y="215"/>
                    </a:lnTo>
                    <a:lnTo>
                      <a:pt x="237" y="214"/>
                    </a:lnTo>
                    <a:lnTo>
                      <a:pt x="235" y="214"/>
                    </a:lnTo>
                    <a:lnTo>
                      <a:pt x="234" y="213"/>
                    </a:lnTo>
                    <a:lnTo>
                      <a:pt x="233" y="210"/>
                    </a:lnTo>
                    <a:lnTo>
                      <a:pt x="232" y="209"/>
                    </a:lnTo>
                    <a:lnTo>
                      <a:pt x="228" y="208"/>
                    </a:lnTo>
                    <a:lnTo>
                      <a:pt x="231" y="207"/>
                    </a:lnTo>
                    <a:lnTo>
                      <a:pt x="232" y="207"/>
                    </a:lnTo>
                    <a:lnTo>
                      <a:pt x="233" y="206"/>
                    </a:lnTo>
                    <a:lnTo>
                      <a:pt x="233" y="205"/>
                    </a:lnTo>
                    <a:lnTo>
                      <a:pt x="234" y="203"/>
                    </a:lnTo>
                    <a:lnTo>
                      <a:pt x="232" y="202"/>
                    </a:lnTo>
                    <a:lnTo>
                      <a:pt x="232" y="201"/>
                    </a:lnTo>
                    <a:lnTo>
                      <a:pt x="232" y="200"/>
                    </a:lnTo>
                    <a:lnTo>
                      <a:pt x="231" y="200"/>
                    </a:lnTo>
                    <a:lnTo>
                      <a:pt x="231" y="201"/>
                    </a:lnTo>
                    <a:lnTo>
                      <a:pt x="232" y="202"/>
                    </a:lnTo>
                    <a:lnTo>
                      <a:pt x="231" y="203"/>
                    </a:lnTo>
                    <a:lnTo>
                      <a:pt x="230" y="203"/>
                    </a:lnTo>
                    <a:lnTo>
                      <a:pt x="228" y="203"/>
                    </a:lnTo>
                    <a:lnTo>
                      <a:pt x="228" y="205"/>
                    </a:lnTo>
                    <a:lnTo>
                      <a:pt x="228" y="206"/>
                    </a:lnTo>
                    <a:lnTo>
                      <a:pt x="228" y="207"/>
                    </a:lnTo>
                    <a:lnTo>
                      <a:pt x="227" y="207"/>
                    </a:lnTo>
                    <a:lnTo>
                      <a:pt x="227" y="208"/>
                    </a:lnTo>
                    <a:lnTo>
                      <a:pt x="227" y="209"/>
                    </a:lnTo>
                    <a:lnTo>
                      <a:pt x="228" y="209"/>
                    </a:lnTo>
                    <a:lnTo>
                      <a:pt x="228" y="210"/>
                    </a:lnTo>
                    <a:lnTo>
                      <a:pt x="232" y="212"/>
                    </a:lnTo>
                    <a:lnTo>
                      <a:pt x="226" y="210"/>
                    </a:lnTo>
                    <a:lnTo>
                      <a:pt x="225" y="210"/>
                    </a:lnTo>
                    <a:lnTo>
                      <a:pt x="224" y="212"/>
                    </a:lnTo>
                    <a:lnTo>
                      <a:pt x="224" y="214"/>
                    </a:lnTo>
                    <a:lnTo>
                      <a:pt x="223" y="217"/>
                    </a:lnTo>
                    <a:lnTo>
                      <a:pt x="220" y="220"/>
                    </a:lnTo>
                    <a:lnTo>
                      <a:pt x="220" y="221"/>
                    </a:lnTo>
                    <a:lnTo>
                      <a:pt x="220" y="222"/>
                    </a:lnTo>
                    <a:lnTo>
                      <a:pt x="219" y="222"/>
                    </a:lnTo>
                    <a:lnTo>
                      <a:pt x="219" y="223"/>
                    </a:lnTo>
                    <a:lnTo>
                      <a:pt x="217" y="227"/>
                    </a:lnTo>
                    <a:lnTo>
                      <a:pt x="216" y="228"/>
                    </a:lnTo>
                    <a:lnTo>
                      <a:pt x="217" y="227"/>
                    </a:lnTo>
                    <a:lnTo>
                      <a:pt x="218" y="226"/>
                    </a:lnTo>
                    <a:lnTo>
                      <a:pt x="219" y="227"/>
                    </a:lnTo>
                    <a:lnTo>
                      <a:pt x="219" y="228"/>
                    </a:lnTo>
                    <a:lnTo>
                      <a:pt x="219" y="229"/>
                    </a:lnTo>
                    <a:lnTo>
                      <a:pt x="218" y="230"/>
                    </a:lnTo>
                    <a:lnTo>
                      <a:pt x="217" y="233"/>
                    </a:lnTo>
                    <a:lnTo>
                      <a:pt x="217" y="236"/>
                    </a:lnTo>
                    <a:lnTo>
                      <a:pt x="217" y="240"/>
                    </a:lnTo>
                    <a:lnTo>
                      <a:pt x="217" y="241"/>
                    </a:lnTo>
                    <a:lnTo>
                      <a:pt x="216" y="242"/>
                    </a:lnTo>
                    <a:lnTo>
                      <a:pt x="214" y="242"/>
                    </a:lnTo>
                    <a:lnTo>
                      <a:pt x="213" y="243"/>
                    </a:lnTo>
                    <a:lnTo>
                      <a:pt x="213" y="244"/>
                    </a:lnTo>
                    <a:lnTo>
                      <a:pt x="212" y="243"/>
                    </a:lnTo>
                    <a:lnTo>
                      <a:pt x="212" y="242"/>
                    </a:lnTo>
                    <a:lnTo>
                      <a:pt x="211" y="241"/>
                    </a:lnTo>
                    <a:lnTo>
                      <a:pt x="211" y="242"/>
                    </a:lnTo>
                    <a:lnTo>
                      <a:pt x="210" y="243"/>
                    </a:lnTo>
                    <a:lnTo>
                      <a:pt x="212" y="247"/>
                    </a:lnTo>
                    <a:lnTo>
                      <a:pt x="212" y="248"/>
                    </a:lnTo>
                    <a:lnTo>
                      <a:pt x="212" y="249"/>
                    </a:lnTo>
                    <a:lnTo>
                      <a:pt x="212" y="250"/>
                    </a:lnTo>
                    <a:lnTo>
                      <a:pt x="212" y="251"/>
                    </a:lnTo>
                    <a:lnTo>
                      <a:pt x="212" y="254"/>
                    </a:lnTo>
                    <a:lnTo>
                      <a:pt x="212" y="255"/>
                    </a:lnTo>
                    <a:lnTo>
                      <a:pt x="212" y="256"/>
                    </a:lnTo>
                    <a:lnTo>
                      <a:pt x="211" y="257"/>
                    </a:lnTo>
                    <a:lnTo>
                      <a:pt x="210" y="258"/>
                    </a:lnTo>
                    <a:lnTo>
                      <a:pt x="209" y="258"/>
                    </a:lnTo>
                    <a:lnTo>
                      <a:pt x="207" y="259"/>
                    </a:lnTo>
                    <a:lnTo>
                      <a:pt x="207" y="261"/>
                    </a:lnTo>
                    <a:lnTo>
                      <a:pt x="207" y="263"/>
                    </a:lnTo>
                    <a:lnTo>
                      <a:pt x="206" y="264"/>
                    </a:lnTo>
                    <a:lnTo>
                      <a:pt x="205" y="265"/>
                    </a:lnTo>
                    <a:lnTo>
                      <a:pt x="204" y="266"/>
                    </a:lnTo>
                    <a:lnTo>
                      <a:pt x="204" y="268"/>
                    </a:lnTo>
                    <a:lnTo>
                      <a:pt x="205" y="269"/>
                    </a:lnTo>
                    <a:lnTo>
                      <a:pt x="206" y="269"/>
                    </a:lnTo>
                    <a:lnTo>
                      <a:pt x="207" y="269"/>
                    </a:lnTo>
                    <a:lnTo>
                      <a:pt x="209" y="269"/>
                    </a:lnTo>
                    <a:lnTo>
                      <a:pt x="206" y="268"/>
                    </a:lnTo>
                    <a:lnTo>
                      <a:pt x="207" y="265"/>
                    </a:lnTo>
                    <a:lnTo>
                      <a:pt x="209" y="265"/>
                    </a:lnTo>
                    <a:lnTo>
                      <a:pt x="210" y="266"/>
                    </a:lnTo>
                    <a:lnTo>
                      <a:pt x="210" y="268"/>
                    </a:lnTo>
                    <a:lnTo>
                      <a:pt x="211" y="268"/>
                    </a:lnTo>
                    <a:lnTo>
                      <a:pt x="212" y="268"/>
                    </a:lnTo>
                    <a:lnTo>
                      <a:pt x="212" y="269"/>
                    </a:lnTo>
                    <a:lnTo>
                      <a:pt x="212" y="270"/>
                    </a:lnTo>
                    <a:lnTo>
                      <a:pt x="213" y="271"/>
                    </a:lnTo>
                    <a:lnTo>
                      <a:pt x="212" y="272"/>
                    </a:lnTo>
                    <a:lnTo>
                      <a:pt x="212" y="273"/>
                    </a:lnTo>
                    <a:lnTo>
                      <a:pt x="213" y="273"/>
                    </a:lnTo>
                    <a:lnTo>
                      <a:pt x="213" y="275"/>
                    </a:lnTo>
                    <a:lnTo>
                      <a:pt x="212" y="276"/>
                    </a:lnTo>
                    <a:lnTo>
                      <a:pt x="211" y="276"/>
                    </a:lnTo>
                    <a:lnTo>
                      <a:pt x="211" y="277"/>
                    </a:lnTo>
                    <a:lnTo>
                      <a:pt x="210" y="278"/>
                    </a:lnTo>
                    <a:lnTo>
                      <a:pt x="210" y="282"/>
                    </a:lnTo>
                    <a:lnTo>
                      <a:pt x="209" y="283"/>
                    </a:lnTo>
                    <a:lnTo>
                      <a:pt x="210" y="285"/>
                    </a:lnTo>
                    <a:lnTo>
                      <a:pt x="210" y="286"/>
                    </a:lnTo>
                    <a:lnTo>
                      <a:pt x="210" y="287"/>
                    </a:lnTo>
                    <a:lnTo>
                      <a:pt x="209" y="289"/>
                    </a:lnTo>
                    <a:lnTo>
                      <a:pt x="210" y="289"/>
                    </a:lnTo>
                    <a:lnTo>
                      <a:pt x="211" y="289"/>
                    </a:lnTo>
                    <a:lnTo>
                      <a:pt x="211" y="290"/>
                    </a:lnTo>
                    <a:lnTo>
                      <a:pt x="210" y="291"/>
                    </a:lnTo>
                    <a:lnTo>
                      <a:pt x="210" y="292"/>
                    </a:lnTo>
                    <a:lnTo>
                      <a:pt x="209" y="292"/>
                    </a:lnTo>
                    <a:lnTo>
                      <a:pt x="209" y="293"/>
                    </a:lnTo>
                    <a:lnTo>
                      <a:pt x="210" y="293"/>
                    </a:lnTo>
                    <a:lnTo>
                      <a:pt x="210" y="294"/>
                    </a:lnTo>
                    <a:lnTo>
                      <a:pt x="210" y="296"/>
                    </a:lnTo>
                    <a:lnTo>
                      <a:pt x="209" y="294"/>
                    </a:lnTo>
                    <a:lnTo>
                      <a:pt x="207" y="294"/>
                    </a:lnTo>
                    <a:lnTo>
                      <a:pt x="205" y="291"/>
                    </a:lnTo>
                    <a:lnTo>
                      <a:pt x="205" y="290"/>
                    </a:lnTo>
                    <a:lnTo>
                      <a:pt x="204" y="289"/>
                    </a:lnTo>
                    <a:lnTo>
                      <a:pt x="204" y="287"/>
                    </a:lnTo>
                    <a:lnTo>
                      <a:pt x="203" y="287"/>
                    </a:lnTo>
                    <a:lnTo>
                      <a:pt x="203" y="289"/>
                    </a:lnTo>
                    <a:lnTo>
                      <a:pt x="203" y="290"/>
                    </a:lnTo>
                    <a:lnTo>
                      <a:pt x="203" y="291"/>
                    </a:lnTo>
                    <a:lnTo>
                      <a:pt x="203" y="292"/>
                    </a:lnTo>
                    <a:lnTo>
                      <a:pt x="202" y="292"/>
                    </a:lnTo>
                    <a:lnTo>
                      <a:pt x="200" y="293"/>
                    </a:lnTo>
                    <a:lnTo>
                      <a:pt x="199" y="294"/>
                    </a:lnTo>
                    <a:lnTo>
                      <a:pt x="198" y="294"/>
                    </a:lnTo>
                    <a:lnTo>
                      <a:pt x="197" y="293"/>
                    </a:lnTo>
                    <a:lnTo>
                      <a:pt x="193" y="289"/>
                    </a:lnTo>
                    <a:lnTo>
                      <a:pt x="193" y="286"/>
                    </a:lnTo>
                    <a:lnTo>
                      <a:pt x="195" y="286"/>
                    </a:lnTo>
                    <a:lnTo>
                      <a:pt x="196" y="285"/>
                    </a:lnTo>
                    <a:lnTo>
                      <a:pt x="197" y="284"/>
                    </a:lnTo>
                    <a:lnTo>
                      <a:pt x="192" y="282"/>
                    </a:lnTo>
                    <a:lnTo>
                      <a:pt x="191" y="280"/>
                    </a:lnTo>
                    <a:lnTo>
                      <a:pt x="191" y="279"/>
                    </a:lnTo>
                    <a:lnTo>
                      <a:pt x="191" y="277"/>
                    </a:lnTo>
                    <a:lnTo>
                      <a:pt x="191" y="276"/>
                    </a:lnTo>
                    <a:lnTo>
                      <a:pt x="193" y="275"/>
                    </a:lnTo>
                    <a:lnTo>
                      <a:pt x="195" y="275"/>
                    </a:lnTo>
                    <a:lnTo>
                      <a:pt x="195" y="273"/>
                    </a:lnTo>
                    <a:lnTo>
                      <a:pt x="195" y="272"/>
                    </a:lnTo>
                    <a:lnTo>
                      <a:pt x="195" y="271"/>
                    </a:lnTo>
                    <a:lnTo>
                      <a:pt x="196" y="271"/>
                    </a:lnTo>
                    <a:lnTo>
                      <a:pt x="197" y="271"/>
                    </a:lnTo>
                    <a:lnTo>
                      <a:pt x="197" y="272"/>
                    </a:lnTo>
                    <a:lnTo>
                      <a:pt x="197" y="275"/>
                    </a:lnTo>
                    <a:lnTo>
                      <a:pt x="197" y="276"/>
                    </a:lnTo>
                    <a:lnTo>
                      <a:pt x="196" y="277"/>
                    </a:lnTo>
                    <a:lnTo>
                      <a:pt x="198" y="279"/>
                    </a:lnTo>
                    <a:lnTo>
                      <a:pt x="199" y="280"/>
                    </a:lnTo>
                    <a:lnTo>
                      <a:pt x="202" y="280"/>
                    </a:lnTo>
                    <a:lnTo>
                      <a:pt x="203" y="280"/>
                    </a:lnTo>
                    <a:lnTo>
                      <a:pt x="204" y="280"/>
                    </a:lnTo>
                    <a:lnTo>
                      <a:pt x="205" y="280"/>
                    </a:lnTo>
                    <a:lnTo>
                      <a:pt x="205" y="279"/>
                    </a:lnTo>
                    <a:lnTo>
                      <a:pt x="206" y="278"/>
                    </a:lnTo>
                    <a:lnTo>
                      <a:pt x="205" y="278"/>
                    </a:lnTo>
                    <a:lnTo>
                      <a:pt x="204" y="277"/>
                    </a:lnTo>
                    <a:lnTo>
                      <a:pt x="204" y="276"/>
                    </a:lnTo>
                    <a:lnTo>
                      <a:pt x="203" y="273"/>
                    </a:lnTo>
                    <a:lnTo>
                      <a:pt x="204" y="275"/>
                    </a:lnTo>
                    <a:lnTo>
                      <a:pt x="204" y="273"/>
                    </a:lnTo>
                    <a:lnTo>
                      <a:pt x="205" y="273"/>
                    </a:lnTo>
                    <a:lnTo>
                      <a:pt x="203" y="272"/>
                    </a:lnTo>
                    <a:lnTo>
                      <a:pt x="203" y="271"/>
                    </a:lnTo>
                    <a:lnTo>
                      <a:pt x="204" y="270"/>
                    </a:lnTo>
                    <a:lnTo>
                      <a:pt x="203" y="269"/>
                    </a:lnTo>
                    <a:lnTo>
                      <a:pt x="199" y="269"/>
                    </a:lnTo>
                    <a:lnTo>
                      <a:pt x="198" y="268"/>
                    </a:lnTo>
                    <a:lnTo>
                      <a:pt x="197" y="268"/>
                    </a:lnTo>
                    <a:lnTo>
                      <a:pt x="196" y="268"/>
                    </a:lnTo>
                    <a:lnTo>
                      <a:pt x="195" y="268"/>
                    </a:lnTo>
                    <a:lnTo>
                      <a:pt x="195" y="266"/>
                    </a:lnTo>
                    <a:lnTo>
                      <a:pt x="193" y="265"/>
                    </a:lnTo>
                    <a:lnTo>
                      <a:pt x="192" y="265"/>
                    </a:lnTo>
                    <a:lnTo>
                      <a:pt x="192" y="264"/>
                    </a:lnTo>
                    <a:lnTo>
                      <a:pt x="192" y="263"/>
                    </a:lnTo>
                    <a:lnTo>
                      <a:pt x="191" y="262"/>
                    </a:lnTo>
                    <a:lnTo>
                      <a:pt x="190" y="262"/>
                    </a:lnTo>
                    <a:lnTo>
                      <a:pt x="188" y="263"/>
                    </a:lnTo>
                    <a:lnTo>
                      <a:pt x="186" y="263"/>
                    </a:lnTo>
                    <a:lnTo>
                      <a:pt x="185" y="264"/>
                    </a:lnTo>
                    <a:lnTo>
                      <a:pt x="185" y="266"/>
                    </a:lnTo>
                    <a:lnTo>
                      <a:pt x="186" y="269"/>
                    </a:lnTo>
                    <a:lnTo>
                      <a:pt x="188" y="273"/>
                    </a:lnTo>
                    <a:lnTo>
                      <a:pt x="186" y="276"/>
                    </a:lnTo>
                    <a:lnTo>
                      <a:pt x="185" y="276"/>
                    </a:lnTo>
                    <a:lnTo>
                      <a:pt x="184" y="277"/>
                    </a:lnTo>
                    <a:lnTo>
                      <a:pt x="182" y="277"/>
                    </a:lnTo>
                    <a:lnTo>
                      <a:pt x="181" y="278"/>
                    </a:lnTo>
                    <a:lnTo>
                      <a:pt x="179" y="277"/>
                    </a:lnTo>
                    <a:lnTo>
                      <a:pt x="179" y="276"/>
                    </a:lnTo>
                    <a:lnTo>
                      <a:pt x="178" y="275"/>
                    </a:lnTo>
                    <a:lnTo>
                      <a:pt x="179" y="273"/>
                    </a:lnTo>
                    <a:lnTo>
                      <a:pt x="181" y="273"/>
                    </a:lnTo>
                    <a:lnTo>
                      <a:pt x="181" y="275"/>
                    </a:lnTo>
                    <a:lnTo>
                      <a:pt x="182" y="276"/>
                    </a:lnTo>
                    <a:lnTo>
                      <a:pt x="183" y="276"/>
                    </a:lnTo>
                    <a:lnTo>
                      <a:pt x="183" y="275"/>
                    </a:lnTo>
                    <a:lnTo>
                      <a:pt x="183" y="273"/>
                    </a:lnTo>
                    <a:lnTo>
                      <a:pt x="183" y="272"/>
                    </a:lnTo>
                    <a:lnTo>
                      <a:pt x="183" y="270"/>
                    </a:lnTo>
                    <a:lnTo>
                      <a:pt x="184" y="268"/>
                    </a:lnTo>
                    <a:lnTo>
                      <a:pt x="183" y="268"/>
                    </a:lnTo>
                    <a:lnTo>
                      <a:pt x="182" y="269"/>
                    </a:lnTo>
                    <a:lnTo>
                      <a:pt x="181" y="269"/>
                    </a:lnTo>
                    <a:lnTo>
                      <a:pt x="181" y="268"/>
                    </a:lnTo>
                    <a:lnTo>
                      <a:pt x="181" y="265"/>
                    </a:lnTo>
                    <a:lnTo>
                      <a:pt x="179" y="265"/>
                    </a:lnTo>
                    <a:lnTo>
                      <a:pt x="178" y="264"/>
                    </a:lnTo>
                    <a:lnTo>
                      <a:pt x="177" y="263"/>
                    </a:lnTo>
                    <a:lnTo>
                      <a:pt x="175" y="257"/>
                    </a:lnTo>
                    <a:lnTo>
                      <a:pt x="174" y="257"/>
                    </a:lnTo>
                    <a:lnTo>
                      <a:pt x="173" y="257"/>
                    </a:lnTo>
                    <a:lnTo>
                      <a:pt x="173" y="258"/>
                    </a:lnTo>
                    <a:lnTo>
                      <a:pt x="174" y="259"/>
                    </a:lnTo>
                    <a:lnTo>
                      <a:pt x="175" y="261"/>
                    </a:lnTo>
                    <a:lnTo>
                      <a:pt x="176" y="262"/>
                    </a:lnTo>
                    <a:lnTo>
                      <a:pt x="176" y="265"/>
                    </a:lnTo>
                    <a:lnTo>
                      <a:pt x="177" y="268"/>
                    </a:lnTo>
                    <a:lnTo>
                      <a:pt x="177" y="269"/>
                    </a:lnTo>
                    <a:lnTo>
                      <a:pt x="176" y="271"/>
                    </a:lnTo>
                    <a:lnTo>
                      <a:pt x="175" y="272"/>
                    </a:lnTo>
                    <a:lnTo>
                      <a:pt x="175" y="273"/>
                    </a:lnTo>
                    <a:lnTo>
                      <a:pt x="175" y="277"/>
                    </a:lnTo>
                    <a:lnTo>
                      <a:pt x="174" y="277"/>
                    </a:lnTo>
                    <a:lnTo>
                      <a:pt x="174" y="276"/>
                    </a:lnTo>
                    <a:lnTo>
                      <a:pt x="171" y="275"/>
                    </a:lnTo>
                    <a:lnTo>
                      <a:pt x="170" y="276"/>
                    </a:lnTo>
                    <a:lnTo>
                      <a:pt x="171" y="277"/>
                    </a:lnTo>
                    <a:lnTo>
                      <a:pt x="173" y="278"/>
                    </a:lnTo>
                    <a:lnTo>
                      <a:pt x="173" y="279"/>
                    </a:lnTo>
                    <a:lnTo>
                      <a:pt x="173" y="280"/>
                    </a:lnTo>
                    <a:lnTo>
                      <a:pt x="171" y="280"/>
                    </a:lnTo>
                    <a:lnTo>
                      <a:pt x="170" y="282"/>
                    </a:lnTo>
                    <a:lnTo>
                      <a:pt x="169" y="283"/>
                    </a:lnTo>
                    <a:lnTo>
                      <a:pt x="169" y="284"/>
                    </a:lnTo>
                    <a:lnTo>
                      <a:pt x="169" y="285"/>
                    </a:lnTo>
                    <a:lnTo>
                      <a:pt x="169" y="289"/>
                    </a:lnTo>
                    <a:lnTo>
                      <a:pt x="169" y="290"/>
                    </a:lnTo>
                    <a:lnTo>
                      <a:pt x="169" y="292"/>
                    </a:lnTo>
                    <a:lnTo>
                      <a:pt x="168" y="293"/>
                    </a:lnTo>
                    <a:lnTo>
                      <a:pt x="167" y="294"/>
                    </a:lnTo>
                    <a:lnTo>
                      <a:pt x="166" y="294"/>
                    </a:lnTo>
                    <a:lnTo>
                      <a:pt x="164" y="293"/>
                    </a:lnTo>
                    <a:lnTo>
                      <a:pt x="163" y="293"/>
                    </a:lnTo>
                    <a:lnTo>
                      <a:pt x="163" y="292"/>
                    </a:lnTo>
                    <a:lnTo>
                      <a:pt x="163" y="291"/>
                    </a:lnTo>
                    <a:lnTo>
                      <a:pt x="161" y="291"/>
                    </a:lnTo>
                    <a:lnTo>
                      <a:pt x="160" y="290"/>
                    </a:lnTo>
                    <a:lnTo>
                      <a:pt x="161" y="289"/>
                    </a:lnTo>
                    <a:lnTo>
                      <a:pt x="162" y="287"/>
                    </a:lnTo>
                    <a:lnTo>
                      <a:pt x="162" y="286"/>
                    </a:lnTo>
                    <a:lnTo>
                      <a:pt x="161" y="284"/>
                    </a:lnTo>
                    <a:lnTo>
                      <a:pt x="161" y="285"/>
                    </a:lnTo>
                    <a:lnTo>
                      <a:pt x="160" y="286"/>
                    </a:lnTo>
                    <a:lnTo>
                      <a:pt x="159" y="287"/>
                    </a:lnTo>
                    <a:lnTo>
                      <a:pt x="157" y="286"/>
                    </a:lnTo>
                    <a:lnTo>
                      <a:pt x="156" y="285"/>
                    </a:lnTo>
                    <a:lnTo>
                      <a:pt x="157" y="283"/>
                    </a:lnTo>
                    <a:lnTo>
                      <a:pt x="157" y="280"/>
                    </a:lnTo>
                    <a:lnTo>
                      <a:pt x="156" y="280"/>
                    </a:lnTo>
                    <a:lnTo>
                      <a:pt x="155" y="280"/>
                    </a:lnTo>
                    <a:lnTo>
                      <a:pt x="154" y="282"/>
                    </a:lnTo>
                    <a:lnTo>
                      <a:pt x="154" y="283"/>
                    </a:lnTo>
                    <a:lnTo>
                      <a:pt x="153" y="285"/>
                    </a:lnTo>
                    <a:lnTo>
                      <a:pt x="153" y="286"/>
                    </a:lnTo>
                    <a:lnTo>
                      <a:pt x="154" y="287"/>
                    </a:lnTo>
                    <a:lnTo>
                      <a:pt x="155" y="287"/>
                    </a:lnTo>
                    <a:lnTo>
                      <a:pt x="159" y="291"/>
                    </a:lnTo>
                    <a:lnTo>
                      <a:pt x="159" y="292"/>
                    </a:lnTo>
                    <a:lnTo>
                      <a:pt x="160" y="293"/>
                    </a:lnTo>
                    <a:lnTo>
                      <a:pt x="160" y="294"/>
                    </a:lnTo>
                    <a:lnTo>
                      <a:pt x="160" y="296"/>
                    </a:lnTo>
                    <a:lnTo>
                      <a:pt x="159" y="296"/>
                    </a:lnTo>
                    <a:lnTo>
                      <a:pt x="159" y="297"/>
                    </a:lnTo>
                    <a:lnTo>
                      <a:pt x="157" y="297"/>
                    </a:lnTo>
                    <a:lnTo>
                      <a:pt x="156" y="296"/>
                    </a:lnTo>
                    <a:lnTo>
                      <a:pt x="155" y="296"/>
                    </a:lnTo>
                    <a:lnTo>
                      <a:pt x="154" y="296"/>
                    </a:lnTo>
                    <a:lnTo>
                      <a:pt x="153" y="297"/>
                    </a:lnTo>
                    <a:lnTo>
                      <a:pt x="152" y="297"/>
                    </a:lnTo>
                    <a:lnTo>
                      <a:pt x="155" y="298"/>
                    </a:lnTo>
                    <a:lnTo>
                      <a:pt x="156" y="298"/>
                    </a:lnTo>
                    <a:lnTo>
                      <a:pt x="157" y="298"/>
                    </a:lnTo>
                    <a:lnTo>
                      <a:pt x="157" y="299"/>
                    </a:lnTo>
                    <a:lnTo>
                      <a:pt x="155" y="300"/>
                    </a:lnTo>
                    <a:lnTo>
                      <a:pt x="155" y="301"/>
                    </a:lnTo>
                    <a:lnTo>
                      <a:pt x="154" y="303"/>
                    </a:lnTo>
                    <a:lnTo>
                      <a:pt x="153" y="304"/>
                    </a:lnTo>
                    <a:lnTo>
                      <a:pt x="152" y="304"/>
                    </a:lnTo>
                    <a:lnTo>
                      <a:pt x="149" y="304"/>
                    </a:lnTo>
                    <a:lnTo>
                      <a:pt x="150" y="305"/>
                    </a:lnTo>
                    <a:lnTo>
                      <a:pt x="153" y="306"/>
                    </a:lnTo>
                    <a:lnTo>
                      <a:pt x="154" y="308"/>
                    </a:lnTo>
                    <a:lnTo>
                      <a:pt x="150" y="307"/>
                    </a:lnTo>
                    <a:lnTo>
                      <a:pt x="149" y="308"/>
                    </a:lnTo>
                    <a:lnTo>
                      <a:pt x="149" y="310"/>
                    </a:lnTo>
                    <a:lnTo>
                      <a:pt x="150" y="310"/>
                    </a:lnTo>
                    <a:lnTo>
                      <a:pt x="150" y="311"/>
                    </a:lnTo>
                    <a:lnTo>
                      <a:pt x="149" y="312"/>
                    </a:lnTo>
                    <a:lnTo>
                      <a:pt x="148" y="312"/>
                    </a:lnTo>
                    <a:lnTo>
                      <a:pt x="147" y="312"/>
                    </a:lnTo>
                    <a:lnTo>
                      <a:pt x="147" y="313"/>
                    </a:lnTo>
                    <a:lnTo>
                      <a:pt x="147" y="314"/>
                    </a:lnTo>
                    <a:lnTo>
                      <a:pt x="148" y="314"/>
                    </a:lnTo>
                    <a:lnTo>
                      <a:pt x="149" y="315"/>
                    </a:lnTo>
                    <a:lnTo>
                      <a:pt x="149" y="317"/>
                    </a:lnTo>
                    <a:lnTo>
                      <a:pt x="148" y="318"/>
                    </a:lnTo>
                    <a:lnTo>
                      <a:pt x="143" y="319"/>
                    </a:lnTo>
                    <a:lnTo>
                      <a:pt x="142" y="319"/>
                    </a:lnTo>
                    <a:lnTo>
                      <a:pt x="142" y="318"/>
                    </a:lnTo>
                    <a:lnTo>
                      <a:pt x="141" y="317"/>
                    </a:lnTo>
                    <a:lnTo>
                      <a:pt x="140" y="317"/>
                    </a:lnTo>
                    <a:lnTo>
                      <a:pt x="139" y="317"/>
                    </a:lnTo>
                    <a:lnTo>
                      <a:pt x="136" y="318"/>
                    </a:lnTo>
                    <a:lnTo>
                      <a:pt x="135" y="317"/>
                    </a:lnTo>
                    <a:lnTo>
                      <a:pt x="135" y="315"/>
                    </a:lnTo>
                    <a:lnTo>
                      <a:pt x="134" y="314"/>
                    </a:lnTo>
                    <a:lnTo>
                      <a:pt x="131" y="312"/>
                    </a:lnTo>
                    <a:lnTo>
                      <a:pt x="131" y="311"/>
                    </a:lnTo>
                    <a:lnTo>
                      <a:pt x="131" y="310"/>
                    </a:lnTo>
                    <a:lnTo>
                      <a:pt x="129" y="307"/>
                    </a:lnTo>
                    <a:lnTo>
                      <a:pt x="129" y="305"/>
                    </a:lnTo>
                    <a:lnTo>
                      <a:pt x="128" y="305"/>
                    </a:lnTo>
                    <a:lnTo>
                      <a:pt x="128" y="306"/>
                    </a:lnTo>
                    <a:lnTo>
                      <a:pt x="128" y="307"/>
                    </a:lnTo>
                    <a:lnTo>
                      <a:pt x="128" y="308"/>
                    </a:lnTo>
                    <a:lnTo>
                      <a:pt x="127" y="308"/>
                    </a:lnTo>
                    <a:lnTo>
                      <a:pt x="126" y="310"/>
                    </a:lnTo>
                    <a:lnTo>
                      <a:pt x="125" y="310"/>
                    </a:lnTo>
                    <a:lnTo>
                      <a:pt x="119" y="308"/>
                    </a:lnTo>
                    <a:lnTo>
                      <a:pt x="118" y="307"/>
                    </a:lnTo>
                    <a:lnTo>
                      <a:pt x="117" y="306"/>
                    </a:lnTo>
                    <a:lnTo>
                      <a:pt x="115" y="307"/>
                    </a:lnTo>
                    <a:lnTo>
                      <a:pt x="114" y="308"/>
                    </a:lnTo>
                    <a:lnTo>
                      <a:pt x="113" y="308"/>
                    </a:lnTo>
                    <a:lnTo>
                      <a:pt x="113" y="307"/>
                    </a:lnTo>
                    <a:lnTo>
                      <a:pt x="113" y="306"/>
                    </a:lnTo>
                    <a:lnTo>
                      <a:pt x="112" y="305"/>
                    </a:lnTo>
                    <a:lnTo>
                      <a:pt x="111" y="304"/>
                    </a:lnTo>
                    <a:lnTo>
                      <a:pt x="110" y="304"/>
                    </a:lnTo>
                    <a:lnTo>
                      <a:pt x="110" y="305"/>
                    </a:lnTo>
                    <a:lnTo>
                      <a:pt x="109" y="305"/>
                    </a:lnTo>
                    <a:lnTo>
                      <a:pt x="109" y="306"/>
                    </a:lnTo>
                    <a:lnTo>
                      <a:pt x="109" y="307"/>
                    </a:lnTo>
                    <a:lnTo>
                      <a:pt x="109" y="308"/>
                    </a:lnTo>
                    <a:lnTo>
                      <a:pt x="107" y="307"/>
                    </a:lnTo>
                    <a:lnTo>
                      <a:pt x="107" y="306"/>
                    </a:lnTo>
                    <a:lnTo>
                      <a:pt x="106" y="305"/>
                    </a:lnTo>
                    <a:lnTo>
                      <a:pt x="104" y="306"/>
                    </a:lnTo>
                    <a:lnTo>
                      <a:pt x="104" y="307"/>
                    </a:lnTo>
                    <a:lnTo>
                      <a:pt x="104" y="308"/>
                    </a:lnTo>
                    <a:lnTo>
                      <a:pt x="103" y="308"/>
                    </a:lnTo>
                    <a:lnTo>
                      <a:pt x="103" y="307"/>
                    </a:lnTo>
                    <a:lnTo>
                      <a:pt x="102" y="307"/>
                    </a:lnTo>
                    <a:lnTo>
                      <a:pt x="99" y="308"/>
                    </a:lnTo>
                    <a:lnTo>
                      <a:pt x="99" y="303"/>
                    </a:lnTo>
                    <a:lnTo>
                      <a:pt x="99" y="300"/>
                    </a:lnTo>
                    <a:lnTo>
                      <a:pt x="98" y="298"/>
                    </a:lnTo>
                    <a:lnTo>
                      <a:pt x="96" y="296"/>
                    </a:lnTo>
                    <a:lnTo>
                      <a:pt x="96" y="294"/>
                    </a:lnTo>
                    <a:lnTo>
                      <a:pt x="96" y="293"/>
                    </a:lnTo>
                    <a:lnTo>
                      <a:pt x="97" y="294"/>
                    </a:lnTo>
                    <a:lnTo>
                      <a:pt x="98" y="294"/>
                    </a:lnTo>
                    <a:lnTo>
                      <a:pt x="99" y="296"/>
                    </a:lnTo>
                    <a:lnTo>
                      <a:pt x="99" y="294"/>
                    </a:lnTo>
                    <a:lnTo>
                      <a:pt x="98" y="292"/>
                    </a:lnTo>
                    <a:lnTo>
                      <a:pt x="99" y="292"/>
                    </a:lnTo>
                    <a:lnTo>
                      <a:pt x="104" y="293"/>
                    </a:lnTo>
                    <a:lnTo>
                      <a:pt x="105" y="294"/>
                    </a:lnTo>
                    <a:lnTo>
                      <a:pt x="106" y="296"/>
                    </a:lnTo>
                    <a:lnTo>
                      <a:pt x="106" y="297"/>
                    </a:lnTo>
                    <a:lnTo>
                      <a:pt x="107" y="299"/>
                    </a:lnTo>
                    <a:lnTo>
                      <a:pt x="107" y="298"/>
                    </a:lnTo>
                    <a:lnTo>
                      <a:pt x="107" y="297"/>
                    </a:lnTo>
                    <a:lnTo>
                      <a:pt x="107" y="296"/>
                    </a:lnTo>
                    <a:lnTo>
                      <a:pt x="109" y="296"/>
                    </a:lnTo>
                    <a:lnTo>
                      <a:pt x="109" y="294"/>
                    </a:lnTo>
                    <a:lnTo>
                      <a:pt x="110" y="294"/>
                    </a:lnTo>
                    <a:lnTo>
                      <a:pt x="110" y="296"/>
                    </a:lnTo>
                    <a:lnTo>
                      <a:pt x="111" y="297"/>
                    </a:lnTo>
                    <a:lnTo>
                      <a:pt x="111" y="298"/>
                    </a:lnTo>
                    <a:lnTo>
                      <a:pt x="112" y="297"/>
                    </a:lnTo>
                    <a:lnTo>
                      <a:pt x="112" y="294"/>
                    </a:lnTo>
                    <a:lnTo>
                      <a:pt x="112" y="293"/>
                    </a:lnTo>
                    <a:lnTo>
                      <a:pt x="112" y="292"/>
                    </a:lnTo>
                    <a:lnTo>
                      <a:pt x="112" y="291"/>
                    </a:lnTo>
                    <a:lnTo>
                      <a:pt x="110" y="290"/>
                    </a:lnTo>
                    <a:lnTo>
                      <a:pt x="110" y="289"/>
                    </a:lnTo>
                    <a:lnTo>
                      <a:pt x="109" y="289"/>
                    </a:lnTo>
                    <a:lnTo>
                      <a:pt x="106" y="292"/>
                    </a:lnTo>
                    <a:lnTo>
                      <a:pt x="105" y="292"/>
                    </a:lnTo>
                    <a:lnTo>
                      <a:pt x="104" y="291"/>
                    </a:lnTo>
                    <a:lnTo>
                      <a:pt x="104" y="289"/>
                    </a:lnTo>
                    <a:lnTo>
                      <a:pt x="103" y="287"/>
                    </a:lnTo>
                    <a:lnTo>
                      <a:pt x="103" y="289"/>
                    </a:lnTo>
                    <a:lnTo>
                      <a:pt x="103" y="290"/>
                    </a:lnTo>
                    <a:lnTo>
                      <a:pt x="102" y="291"/>
                    </a:lnTo>
                    <a:lnTo>
                      <a:pt x="100" y="291"/>
                    </a:lnTo>
                    <a:lnTo>
                      <a:pt x="99" y="290"/>
                    </a:lnTo>
                    <a:lnTo>
                      <a:pt x="99" y="289"/>
                    </a:lnTo>
                    <a:lnTo>
                      <a:pt x="98" y="287"/>
                    </a:lnTo>
                    <a:lnTo>
                      <a:pt x="98" y="286"/>
                    </a:lnTo>
                    <a:lnTo>
                      <a:pt x="98" y="285"/>
                    </a:lnTo>
                    <a:lnTo>
                      <a:pt x="98" y="283"/>
                    </a:lnTo>
                    <a:lnTo>
                      <a:pt x="97" y="282"/>
                    </a:lnTo>
                    <a:lnTo>
                      <a:pt x="96" y="280"/>
                    </a:lnTo>
                    <a:lnTo>
                      <a:pt x="96" y="283"/>
                    </a:lnTo>
                    <a:lnTo>
                      <a:pt x="96" y="284"/>
                    </a:lnTo>
                    <a:lnTo>
                      <a:pt x="95" y="284"/>
                    </a:lnTo>
                    <a:lnTo>
                      <a:pt x="95" y="285"/>
                    </a:lnTo>
                    <a:lnTo>
                      <a:pt x="93" y="285"/>
                    </a:lnTo>
                    <a:lnTo>
                      <a:pt x="92" y="285"/>
                    </a:lnTo>
                    <a:lnTo>
                      <a:pt x="92" y="286"/>
                    </a:lnTo>
                    <a:lnTo>
                      <a:pt x="93" y="286"/>
                    </a:lnTo>
                    <a:lnTo>
                      <a:pt x="95" y="286"/>
                    </a:lnTo>
                    <a:lnTo>
                      <a:pt x="96" y="286"/>
                    </a:lnTo>
                    <a:lnTo>
                      <a:pt x="96" y="287"/>
                    </a:lnTo>
                    <a:lnTo>
                      <a:pt x="95" y="289"/>
                    </a:lnTo>
                    <a:lnTo>
                      <a:pt x="93" y="289"/>
                    </a:lnTo>
                    <a:lnTo>
                      <a:pt x="92" y="289"/>
                    </a:lnTo>
                    <a:lnTo>
                      <a:pt x="91" y="289"/>
                    </a:lnTo>
                    <a:lnTo>
                      <a:pt x="90" y="287"/>
                    </a:lnTo>
                    <a:lnTo>
                      <a:pt x="89" y="284"/>
                    </a:lnTo>
                    <a:lnTo>
                      <a:pt x="89" y="283"/>
                    </a:lnTo>
                    <a:lnTo>
                      <a:pt x="89" y="282"/>
                    </a:lnTo>
                    <a:lnTo>
                      <a:pt x="89" y="280"/>
                    </a:lnTo>
                    <a:lnTo>
                      <a:pt x="88" y="279"/>
                    </a:lnTo>
                    <a:lnTo>
                      <a:pt x="86" y="278"/>
                    </a:lnTo>
                    <a:lnTo>
                      <a:pt x="86" y="277"/>
                    </a:lnTo>
                    <a:lnTo>
                      <a:pt x="86" y="276"/>
                    </a:lnTo>
                    <a:lnTo>
                      <a:pt x="85" y="275"/>
                    </a:lnTo>
                    <a:lnTo>
                      <a:pt x="85" y="273"/>
                    </a:lnTo>
                    <a:lnTo>
                      <a:pt x="86" y="272"/>
                    </a:lnTo>
                    <a:lnTo>
                      <a:pt x="85" y="272"/>
                    </a:lnTo>
                    <a:lnTo>
                      <a:pt x="84" y="273"/>
                    </a:lnTo>
                    <a:lnTo>
                      <a:pt x="84" y="272"/>
                    </a:lnTo>
                    <a:lnTo>
                      <a:pt x="83" y="272"/>
                    </a:lnTo>
                    <a:lnTo>
                      <a:pt x="83" y="271"/>
                    </a:lnTo>
                    <a:lnTo>
                      <a:pt x="83" y="270"/>
                    </a:lnTo>
                    <a:lnTo>
                      <a:pt x="84" y="269"/>
                    </a:lnTo>
                    <a:lnTo>
                      <a:pt x="83" y="268"/>
                    </a:lnTo>
                    <a:lnTo>
                      <a:pt x="82" y="268"/>
                    </a:lnTo>
                    <a:lnTo>
                      <a:pt x="81" y="266"/>
                    </a:lnTo>
                    <a:lnTo>
                      <a:pt x="79" y="262"/>
                    </a:lnTo>
                    <a:lnTo>
                      <a:pt x="78" y="262"/>
                    </a:lnTo>
                    <a:lnTo>
                      <a:pt x="75" y="261"/>
                    </a:lnTo>
                    <a:lnTo>
                      <a:pt x="72" y="257"/>
                    </a:lnTo>
                    <a:lnTo>
                      <a:pt x="72" y="255"/>
                    </a:lnTo>
                    <a:lnTo>
                      <a:pt x="71" y="251"/>
                    </a:lnTo>
                    <a:lnTo>
                      <a:pt x="70" y="248"/>
                    </a:lnTo>
                    <a:lnTo>
                      <a:pt x="70" y="247"/>
                    </a:lnTo>
                    <a:lnTo>
                      <a:pt x="70" y="245"/>
                    </a:lnTo>
                    <a:lnTo>
                      <a:pt x="69" y="245"/>
                    </a:lnTo>
                    <a:lnTo>
                      <a:pt x="68" y="244"/>
                    </a:lnTo>
                    <a:lnTo>
                      <a:pt x="69" y="244"/>
                    </a:lnTo>
                    <a:lnTo>
                      <a:pt x="69" y="242"/>
                    </a:lnTo>
                    <a:lnTo>
                      <a:pt x="70" y="242"/>
                    </a:lnTo>
                    <a:lnTo>
                      <a:pt x="69" y="241"/>
                    </a:lnTo>
                    <a:lnTo>
                      <a:pt x="68" y="236"/>
                    </a:lnTo>
                    <a:lnTo>
                      <a:pt x="67" y="236"/>
                    </a:lnTo>
                    <a:lnTo>
                      <a:pt x="67" y="235"/>
                    </a:lnTo>
                    <a:lnTo>
                      <a:pt x="67" y="234"/>
                    </a:lnTo>
                    <a:lnTo>
                      <a:pt x="65" y="234"/>
                    </a:lnTo>
                    <a:lnTo>
                      <a:pt x="65" y="233"/>
                    </a:lnTo>
                    <a:lnTo>
                      <a:pt x="63" y="233"/>
                    </a:lnTo>
                    <a:lnTo>
                      <a:pt x="65" y="229"/>
                    </a:lnTo>
                    <a:lnTo>
                      <a:pt x="64" y="228"/>
                    </a:lnTo>
                    <a:lnTo>
                      <a:pt x="63" y="226"/>
                    </a:lnTo>
                    <a:lnTo>
                      <a:pt x="63" y="222"/>
                    </a:lnTo>
                    <a:lnTo>
                      <a:pt x="63" y="220"/>
                    </a:lnTo>
                    <a:lnTo>
                      <a:pt x="63" y="215"/>
                    </a:lnTo>
                    <a:lnTo>
                      <a:pt x="62" y="213"/>
                    </a:lnTo>
                    <a:lnTo>
                      <a:pt x="62" y="210"/>
                    </a:lnTo>
                    <a:lnTo>
                      <a:pt x="63" y="206"/>
                    </a:lnTo>
                    <a:lnTo>
                      <a:pt x="62" y="205"/>
                    </a:lnTo>
                    <a:lnTo>
                      <a:pt x="62" y="203"/>
                    </a:lnTo>
                    <a:lnTo>
                      <a:pt x="62" y="201"/>
                    </a:lnTo>
                    <a:lnTo>
                      <a:pt x="63" y="202"/>
                    </a:lnTo>
                    <a:lnTo>
                      <a:pt x="63" y="203"/>
                    </a:lnTo>
                    <a:lnTo>
                      <a:pt x="64" y="205"/>
                    </a:lnTo>
                    <a:lnTo>
                      <a:pt x="64" y="206"/>
                    </a:lnTo>
                    <a:lnTo>
                      <a:pt x="64" y="207"/>
                    </a:lnTo>
                    <a:lnTo>
                      <a:pt x="65" y="208"/>
                    </a:lnTo>
                    <a:lnTo>
                      <a:pt x="68" y="208"/>
                    </a:lnTo>
                    <a:lnTo>
                      <a:pt x="68" y="209"/>
                    </a:lnTo>
                    <a:lnTo>
                      <a:pt x="69" y="210"/>
                    </a:lnTo>
                    <a:lnTo>
                      <a:pt x="69" y="212"/>
                    </a:lnTo>
                    <a:lnTo>
                      <a:pt x="70" y="213"/>
                    </a:lnTo>
                    <a:lnTo>
                      <a:pt x="74" y="216"/>
                    </a:lnTo>
                    <a:lnTo>
                      <a:pt x="75" y="216"/>
                    </a:lnTo>
                    <a:lnTo>
                      <a:pt x="75" y="217"/>
                    </a:lnTo>
                    <a:lnTo>
                      <a:pt x="75" y="221"/>
                    </a:lnTo>
                    <a:lnTo>
                      <a:pt x="75" y="223"/>
                    </a:lnTo>
                    <a:lnTo>
                      <a:pt x="75" y="226"/>
                    </a:lnTo>
                    <a:lnTo>
                      <a:pt x="76" y="227"/>
                    </a:lnTo>
                    <a:lnTo>
                      <a:pt x="76" y="224"/>
                    </a:lnTo>
                    <a:lnTo>
                      <a:pt x="77" y="220"/>
                    </a:lnTo>
                    <a:lnTo>
                      <a:pt x="78" y="221"/>
                    </a:lnTo>
                    <a:lnTo>
                      <a:pt x="79" y="221"/>
                    </a:lnTo>
                    <a:lnTo>
                      <a:pt x="79" y="219"/>
                    </a:lnTo>
                    <a:lnTo>
                      <a:pt x="81" y="217"/>
                    </a:lnTo>
                    <a:lnTo>
                      <a:pt x="82" y="215"/>
                    </a:lnTo>
                    <a:lnTo>
                      <a:pt x="82" y="214"/>
                    </a:lnTo>
                    <a:lnTo>
                      <a:pt x="81" y="214"/>
                    </a:lnTo>
                    <a:lnTo>
                      <a:pt x="81" y="215"/>
                    </a:lnTo>
                    <a:lnTo>
                      <a:pt x="79" y="215"/>
                    </a:lnTo>
                    <a:lnTo>
                      <a:pt x="79" y="214"/>
                    </a:lnTo>
                    <a:lnTo>
                      <a:pt x="79" y="213"/>
                    </a:lnTo>
                    <a:lnTo>
                      <a:pt x="78" y="213"/>
                    </a:lnTo>
                    <a:lnTo>
                      <a:pt x="78" y="214"/>
                    </a:lnTo>
                    <a:lnTo>
                      <a:pt x="77" y="214"/>
                    </a:lnTo>
                    <a:lnTo>
                      <a:pt x="77" y="213"/>
                    </a:lnTo>
                    <a:lnTo>
                      <a:pt x="74" y="208"/>
                    </a:lnTo>
                    <a:lnTo>
                      <a:pt x="72" y="207"/>
                    </a:lnTo>
                    <a:lnTo>
                      <a:pt x="72" y="206"/>
                    </a:lnTo>
                    <a:lnTo>
                      <a:pt x="71" y="206"/>
                    </a:lnTo>
                    <a:lnTo>
                      <a:pt x="71" y="203"/>
                    </a:lnTo>
                    <a:lnTo>
                      <a:pt x="71" y="201"/>
                    </a:lnTo>
                    <a:lnTo>
                      <a:pt x="71" y="200"/>
                    </a:lnTo>
                    <a:lnTo>
                      <a:pt x="71" y="199"/>
                    </a:lnTo>
                    <a:lnTo>
                      <a:pt x="70" y="199"/>
                    </a:lnTo>
                    <a:lnTo>
                      <a:pt x="69" y="199"/>
                    </a:lnTo>
                    <a:lnTo>
                      <a:pt x="69" y="200"/>
                    </a:lnTo>
                    <a:lnTo>
                      <a:pt x="68" y="200"/>
                    </a:lnTo>
                    <a:lnTo>
                      <a:pt x="68" y="201"/>
                    </a:lnTo>
                    <a:lnTo>
                      <a:pt x="67" y="201"/>
                    </a:lnTo>
                    <a:lnTo>
                      <a:pt x="67" y="202"/>
                    </a:lnTo>
                    <a:lnTo>
                      <a:pt x="68" y="202"/>
                    </a:lnTo>
                    <a:lnTo>
                      <a:pt x="68" y="203"/>
                    </a:lnTo>
                    <a:lnTo>
                      <a:pt x="67" y="205"/>
                    </a:lnTo>
                    <a:lnTo>
                      <a:pt x="67" y="203"/>
                    </a:lnTo>
                    <a:lnTo>
                      <a:pt x="64" y="202"/>
                    </a:lnTo>
                    <a:lnTo>
                      <a:pt x="67" y="196"/>
                    </a:lnTo>
                    <a:lnTo>
                      <a:pt x="67" y="191"/>
                    </a:lnTo>
                    <a:lnTo>
                      <a:pt x="64" y="185"/>
                    </a:lnTo>
                    <a:lnTo>
                      <a:pt x="62" y="180"/>
                    </a:lnTo>
                    <a:lnTo>
                      <a:pt x="58" y="175"/>
                    </a:lnTo>
                    <a:lnTo>
                      <a:pt x="57" y="175"/>
                    </a:lnTo>
                    <a:lnTo>
                      <a:pt x="57" y="173"/>
                    </a:lnTo>
                    <a:lnTo>
                      <a:pt x="56" y="172"/>
                    </a:lnTo>
                    <a:lnTo>
                      <a:pt x="54" y="167"/>
                    </a:lnTo>
                    <a:lnTo>
                      <a:pt x="53" y="166"/>
                    </a:lnTo>
                    <a:lnTo>
                      <a:pt x="53" y="165"/>
                    </a:lnTo>
                    <a:lnTo>
                      <a:pt x="53" y="164"/>
                    </a:lnTo>
                    <a:lnTo>
                      <a:pt x="51" y="164"/>
                    </a:lnTo>
                    <a:lnTo>
                      <a:pt x="50" y="164"/>
                    </a:lnTo>
                    <a:lnTo>
                      <a:pt x="50" y="163"/>
                    </a:lnTo>
                    <a:lnTo>
                      <a:pt x="50" y="161"/>
                    </a:lnTo>
                    <a:lnTo>
                      <a:pt x="50" y="159"/>
                    </a:lnTo>
                    <a:lnTo>
                      <a:pt x="48" y="151"/>
                    </a:lnTo>
                    <a:lnTo>
                      <a:pt x="46" y="146"/>
                    </a:lnTo>
                    <a:lnTo>
                      <a:pt x="45" y="144"/>
                    </a:lnTo>
                    <a:lnTo>
                      <a:pt x="45" y="143"/>
                    </a:lnTo>
                    <a:lnTo>
                      <a:pt x="43" y="142"/>
                    </a:lnTo>
                    <a:lnTo>
                      <a:pt x="42" y="140"/>
                    </a:lnTo>
                    <a:lnTo>
                      <a:pt x="43" y="140"/>
                    </a:lnTo>
                    <a:lnTo>
                      <a:pt x="45" y="139"/>
                    </a:lnTo>
                    <a:lnTo>
                      <a:pt x="45" y="137"/>
                    </a:lnTo>
                    <a:lnTo>
                      <a:pt x="45" y="135"/>
                    </a:lnTo>
                    <a:lnTo>
                      <a:pt x="41" y="128"/>
                    </a:lnTo>
                    <a:lnTo>
                      <a:pt x="40" y="126"/>
                    </a:lnTo>
                    <a:lnTo>
                      <a:pt x="41" y="124"/>
                    </a:lnTo>
                    <a:lnTo>
                      <a:pt x="41" y="122"/>
                    </a:lnTo>
                    <a:lnTo>
                      <a:pt x="41" y="119"/>
                    </a:lnTo>
                    <a:lnTo>
                      <a:pt x="40" y="118"/>
                    </a:lnTo>
                    <a:lnTo>
                      <a:pt x="41" y="116"/>
                    </a:lnTo>
                    <a:lnTo>
                      <a:pt x="40" y="114"/>
                    </a:lnTo>
                    <a:lnTo>
                      <a:pt x="38" y="109"/>
                    </a:lnTo>
                    <a:lnTo>
                      <a:pt x="39" y="108"/>
                    </a:lnTo>
                    <a:lnTo>
                      <a:pt x="40" y="107"/>
                    </a:lnTo>
                    <a:lnTo>
                      <a:pt x="39" y="104"/>
                    </a:lnTo>
                    <a:lnTo>
                      <a:pt x="40" y="103"/>
                    </a:lnTo>
                    <a:lnTo>
                      <a:pt x="41" y="102"/>
                    </a:lnTo>
                    <a:lnTo>
                      <a:pt x="42" y="102"/>
                    </a:lnTo>
                    <a:lnTo>
                      <a:pt x="43" y="101"/>
                    </a:lnTo>
                    <a:lnTo>
                      <a:pt x="43" y="100"/>
                    </a:lnTo>
                    <a:lnTo>
                      <a:pt x="45" y="97"/>
                    </a:lnTo>
                    <a:lnTo>
                      <a:pt x="45" y="96"/>
                    </a:lnTo>
                    <a:lnTo>
                      <a:pt x="43" y="88"/>
                    </a:lnTo>
                    <a:lnTo>
                      <a:pt x="45" y="86"/>
                    </a:lnTo>
                    <a:lnTo>
                      <a:pt x="45" y="84"/>
                    </a:lnTo>
                    <a:lnTo>
                      <a:pt x="46" y="83"/>
                    </a:lnTo>
                    <a:lnTo>
                      <a:pt x="46" y="84"/>
                    </a:lnTo>
                    <a:lnTo>
                      <a:pt x="47" y="86"/>
                    </a:lnTo>
                    <a:lnTo>
                      <a:pt x="48" y="87"/>
                    </a:lnTo>
                    <a:lnTo>
                      <a:pt x="48" y="88"/>
                    </a:lnTo>
                    <a:lnTo>
                      <a:pt x="48" y="89"/>
                    </a:lnTo>
                    <a:close/>
                    <a:moveTo>
                      <a:pt x="64" y="88"/>
                    </a:moveTo>
                    <a:lnTo>
                      <a:pt x="64" y="89"/>
                    </a:lnTo>
                    <a:lnTo>
                      <a:pt x="65" y="90"/>
                    </a:lnTo>
                    <a:lnTo>
                      <a:pt x="63" y="89"/>
                    </a:lnTo>
                    <a:lnTo>
                      <a:pt x="62" y="88"/>
                    </a:lnTo>
                    <a:lnTo>
                      <a:pt x="61" y="89"/>
                    </a:lnTo>
                    <a:lnTo>
                      <a:pt x="57" y="90"/>
                    </a:lnTo>
                    <a:lnTo>
                      <a:pt x="56" y="90"/>
                    </a:lnTo>
                    <a:lnTo>
                      <a:pt x="55" y="90"/>
                    </a:lnTo>
                    <a:lnTo>
                      <a:pt x="54" y="89"/>
                    </a:lnTo>
                    <a:lnTo>
                      <a:pt x="54" y="86"/>
                    </a:lnTo>
                    <a:lnTo>
                      <a:pt x="57" y="82"/>
                    </a:lnTo>
                    <a:lnTo>
                      <a:pt x="58" y="82"/>
                    </a:lnTo>
                    <a:lnTo>
                      <a:pt x="58" y="83"/>
                    </a:lnTo>
                    <a:lnTo>
                      <a:pt x="58" y="84"/>
                    </a:lnTo>
                    <a:lnTo>
                      <a:pt x="60" y="84"/>
                    </a:lnTo>
                    <a:lnTo>
                      <a:pt x="61" y="84"/>
                    </a:lnTo>
                    <a:lnTo>
                      <a:pt x="62" y="86"/>
                    </a:lnTo>
                    <a:lnTo>
                      <a:pt x="62" y="87"/>
                    </a:lnTo>
                    <a:lnTo>
                      <a:pt x="63" y="87"/>
                    </a:lnTo>
                    <a:lnTo>
                      <a:pt x="64" y="88"/>
                    </a:lnTo>
                    <a:close/>
                    <a:moveTo>
                      <a:pt x="243" y="98"/>
                    </a:moveTo>
                    <a:lnTo>
                      <a:pt x="242" y="100"/>
                    </a:lnTo>
                    <a:lnTo>
                      <a:pt x="241" y="98"/>
                    </a:lnTo>
                    <a:lnTo>
                      <a:pt x="241" y="97"/>
                    </a:lnTo>
                    <a:lnTo>
                      <a:pt x="240" y="97"/>
                    </a:lnTo>
                    <a:lnTo>
                      <a:pt x="239" y="96"/>
                    </a:lnTo>
                    <a:lnTo>
                      <a:pt x="239" y="95"/>
                    </a:lnTo>
                    <a:lnTo>
                      <a:pt x="239" y="94"/>
                    </a:lnTo>
                    <a:lnTo>
                      <a:pt x="240" y="93"/>
                    </a:lnTo>
                    <a:lnTo>
                      <a:pt x="242" y="93"/>
                    </a:lnTo>
                    <a:lnTo>
                      <a:pt x="243" y="93"/>
                    </a:lnTo>
                    <a:lnTo>
                      <a:pt x="247" y="91"/>
                    </a:lnTo>
                    <a:lnTo>
                      <a:pt x="247" y="93"/>
                    </a:lnTo>
                    <a:lnTo>
                      <a:pt x="246" y="93"/>
                    </a:lnTo>
                    <a:lnTo>
                      <a:pt x="246" y="94"/>
                    </a:lnTo>
                    <a:lnTo>
                      <a:pt x="246" y="95"/>
                    </a:lnTo>
                    <a:lnTo>
                      <a:pt x="245" y="96"/>
                    </a:lnTo>
                    <a:lnTo>
                      <a:pt x="243" y="97"/>
                    </a:lnTo>
                    <a:lnTo>
                      <a:pt x="243" y="98"/>
                    </a:lnTo>
                    <a:close/>
                    <a:moveTo>
                      <a:pt x="51" y="67"/>
                    </a:moveTo>
                    <a:lnTo>
                      <a:pt x="50" y="73"/>
                    </a:lnTo>
                    <a:lnTo>
                      <a:pt x="50" y="74"/>
                    </a:lnTo>
                    <a:lnTo>
                      <a:pt x="49" y="75"/>
                    </a:lnTo>
                    <a:lnTo>
                      <a:pt x="49" y="79"/>
                    </a:lnTo>
                    <a:lnTo>
                      <a:pt x="48" y="80"/>
                    </a:lnTo>
                    <a:lnTo>
                      <a:pt x="47" y="79"/>
                    </a:lnTo>
                    <a:lnTo>
                      <a:pt x="47" y="77"/>
                    </a:lnTo>
                    <a:lnTo>
                      <a:pt x="47" y="74"/>
                    </a:lnTo>
                    <a:lnTo>
                      <a:pt x="47" y="73"/>
                    </a:lnTo>
                    <a:lnTo>
                      <a:pt x="47" y="72"/>
                    </a:lnTo>
                    <a:lnTo>
                      <a:pt x="46" y="72"/>
                    </a:lnTo>
                    <a:lnTo>
                      <a:pt x="47" y="70"/>
                    </a:lnTo>
                    <a:lnTo>
                      <a:pt x="48" y="70"/>
                    </a:lnTo>
                    <a:lnTo>
                      <a:pt x="49" y="70"/>
                    </a:lnTo>
                    <a:lnTo>
                      <a:pt x="50" y="69"/>
                    </a:lnTo>
                    <a:lnTo>
                      <a:pt x="50" y="66"/>
                    </a:lnTo>
                    <a:lnTo>
                      <a:pt x="51" y="66"/>
                    </a:lnTo>
                    <a:lnTo>
                      <a:pt x="51" y="67"/>
                    </a:lnTo>
                    <a:close/>
                    <a:moveTo>
                      <a:pt x="57" y="70"/>
                    </a:moveTo>
                    <a:lnTo>
                      <a:pt x="57" y="72"/>
                    </a:lnTo>
                    <a:lnTo>
                      <a:pt x="56" y="70"/>
                    </a:lnTo>
                    <a:lnTo>
                      <a:pt x="55" y="70"/>
                    </a:lnTo>
                    <a:lnTo>
                      <a:pt x="55" y="69"/>
                    </a:lnTo>
                    <a:lnTo>
                      <a:pt x="54" y="68"/>
                    </a:lnTo>
                    <a:lnTo>
                      <a:pt x="55" y="67"/>
                    </a:lnTo>
                    <a:lnTo>
                      <a:pt x="56" y="67"/>
                    </a:lnTo>
                    <a:lnTo>
                      <a:pt x="56" y="66"/>
                    </a:lnTo>
                    <a:lnTo>
                      <a:pt x="57" y="66"/>
                    </a:lnTo>
                    <a:lnTo>
                      <a:pt x="56" y="66"/>
                    </a:lnTo>
                    <a:lnTo>
                      <a:pt x="56" y="65"/>
                    </a:lnTo>
                    <a:lnTo>
                      <a:pt x="57" y="65"/>
                    </a:lnTo>
                    <a:lnTo>
                      <a:pt x="58" y="65"/>
                    </a:lnTo>
                    <a:lnTo>
                      <a:pt x="60" y="65"/>
                    </a:lnTo>
                    <a:lnTo>
                      <a:pt x="61" y="66"/>
                    </a:lnTo>
                    <a:lnTo>
                      <a:pt x="61" y="67"/>
                    </a:lnTo>
                    <a:lnTo>
                      <a:pt x="61" y="68"/>
                    </a:lnTo>
                    <a:lnTo>
                      <a:pt x="60" y="69"/>
                    </a:lnTo>
                    <a:lnTo>
                      <a:pt x="61" y="69"/>
                    </a:lnTo>
                    <a:lnTo>
                      <a:pt x="60" y="70"/>
                    </a:lnTo>
                    <a:lnTo>
                      <a:pt x="58" y="70"/>
                    </a:lnTo>
                    <a:lnTo>
                      <a:pt x="57" y="70"/>
                    </a:lnTo>
                    <a:close/>
                    <a:moveTo>
                      <a:pt x="256" y="83"/>
                    </a:moveTo>
                    <a:lnTo>
                      <a:pt x="257" y="83"/>
                    </a:lnTo>
                    <a:lnTo>
                      <a:pt x="259" y="84"/>
                    </a:lnTo>
                    <a:lnTo>
                      <a:pt x="260" y="88"/>
                    </a:lnTo>
                    <a:lnTo>
                      <a:pt x="261" y="89"/>
                    </a:lnTo>
                    <a:lnTo>
                      <a:pt x="260" y="89"/>
                    </a:lnTo>
                    <a:lnTo>
                      <a:pt x="259" y="88"/>
                    </a:lnTo>
                    <a:lnTo>
                      <a:pt x="259" y="89"/>
                    </a:lnTo>
                    <a:lnTo>
                      <a:pt x="259" y="90"/>
                    </a:lnTo>
                    <a:lnTo>
                      <a:pt x="257" y="90"/>
                    </a:lnTo>
                    <a:lnTo>
                      <a:pt x="256" y="91"/>
                    </a:lnTo>
                    <a:lnTo>
                      <a:pt x="256" y="93"/>
                    </a:lnTo>
                    <a:lnTo>
                      <a:pt x="255" y="93"/>
                    </a:lnTo>
                    <a:lnTo>
                      <a:pt x="254" y="93"/>
                    </a:lnTo>
                    <a:lnTo>
                      <a:pt x="253" y="93"/>
                    </a:lnTo>
                    <a:lnTo>
                      <a:pt x="252" y="94"/>
                    </a:lnTo>
                    <a:lnTo>
                      <a:pt x="252" y="90"/>
                    </a:lnTo>
                    <a:lnTo>
                      <a:pt x="252" y="88"/>
                    </a:lnTo>
                    <a:lnTo>
                      <a:pt x="250" y="88"/>
                    </a:lnTo>
                    <a:lnTo>
                      <a:pt x="246" y="89"/>
                    </a:lnTo>
                    <a:lnTo>
                      <a:pt x="246" y="88"/>
                    </a:lnTo>
                    <a:lnTo>
                      <a:pt x="245" y="88"/>
                    </a:lnTo>
                    <a:lnTo>
                      <a:pt x="243" y="88"/>
                    </a:lnTo>
                    <a:lnTo>
                      <a:pt x="243" y="89"/>
                    </a:lnTo>
                    <a:lnTo>
                      <a:pt x="242" y="89"/>
                    </a:lnTo>
                    <a:lnTo>
                      <a:pt x="242" y="88"/>
                    </a:lnTo>
                    <a:lnTo>
                      <a:pt x="241" y="88"/>
                    </a:lnTo>
                    <a:lnTo>
                      <a:pt x="238" y="88"/>
                    </a:lnTo>
                    <a:lnTo>
                      <a:pt x="237" y="88"/>
                    </a:lnTo>
                    <a:lnTo>
                      <a:pt x="237" y="87"/>
                    </a:lnTo>
                    <a:lnTo>
                      <a:pt x="235" y="86"/>
                    </a:lnTo>
                    <a:lnTo>
                      <a:pt x="234" y="86"/>
                    </a:lnTo>
                    <a:lnTo>
                      <a:pt x="233" y="86"/>
                    </a:lnTo>
                    <a:lnTo>
                      <a:pt x="233" y="84"/>
                    </a:lnTo>
                    <a:lnTo>
                      <a:pt x="234" y="83"/>
                    </a:lnTo>
                    <a:lnTo>
                      <a:pt x="234" y="82"/>
                    </a:lnTo>
                    <a:lnTo>
                      <a:pt x="238" y="80"/>
                    </a:lnTo>
                    <a:lnTo>
                      <a:pt x="239" y="80"/>
                    </a:lnTo>
                    <a:lnTo>
                      <a:pt x="242" y="80"/>
                    </a:lnTo>
                    <a:lnTo>
                      <a:pt x="243" y="81"/>
                    </a:lnTo>
                    <a:lnTo>
                      <a:pt x="245" y="82"/>
                    </a:lnTo>
                    <a:lnTo>
                      <a:pt x="246" y="82"/>
                    </a:lnTo>
                    <a:lnTo>
                      <a:pt x="246" y="80"/>
                    </a:lnTo>
                    <a:lnTo>
                      <a:pt x="248" y="80"/>
                    </a:lnTo>
                    <a:lnTo>
                      <a:pt x="250" y="80"/>
                    </a:lnTo>
                    <a:lnTo>
                      <a:pt x="253" y="79"/>
                    </a:lnTo>
                    <a:lnTo>
                      <a:pt x="254" y="79"/>
                    </a:lnTo>
                    <a:lnTo>
                      <a:pt x="256" y="83"/>
                    </a:lnTo>
                    <a:close/>
                    <a:moveTo>
                      <a:pt x="237" y="32"/>
                    </a:moveTo>
                    <a:lnTo>
                      <a:pt x="246" y="47"/>
                    </a:lnTo>
                    <a:lnTo>
                      <a:pt x="246" y="48"/>
                    </a:lnTo>
                    <a:lnTo>
                      <a:pt x="247" y="51"/>
                    </a:lnTo>
                    <a:lnTo>
                      <a:pt x="249" y="52"/>
                    </a:lnTo>
                    <a:lnTo>
                      <a:pt x="254" y="53"/>
                    </a:lnTo>
                    <a:lnTo>
                      <a:pt x="254" y="54"/>
                    </a:lnTo>
                    <a:lnTo>
                      <a:pt x="253" y="60"/>
                    </a:lnTo>
                    <a:lnTo>
                      <a:pt x="253" y="61"/>
                    </a:lnTo>
                    <a:lnTo>
                      <a:pt x="249" y="63"/>
                    </a:lnTo>
                    <a:lnTo>
                      <a:pt x="248" y="65"/>
                    </a:lnTo>
                    <a:lnTo>
                      <a:pt x="249" y="65"/>
                    </a:lnTo>
                    <a:lnTo>
                      <a:pt x="250" y="65"/>
                    </a:lnTo>
                    <a:lnTo>
                      <a:pt x="252" y="65"/>
                    </a:lnTo>
                    <a:lnTo>
                      <a:pt x="253" y="63"/>
                    </a:lnTo>
                    <a:lnTo>
                      <a:pt x="254" y="65"/>
                    </a:lnTo>
                    <a:lnTo>
                      <a:pt x="254" y="66"/>
                    </a:lnTo>
                    <a:lnTo>
                      <a:pt x="254" y="69"/>
                    </a:lnTo>
                    <a:lnTo>
                      <a:pt x="254" y="70"/>
                    </a:lnTo>
                    <a:lnTo>
                      <a:pt x="252" y="68"/>
                    </a:lnTo>
                    <a:lnTo>
                      <a:pt x="252" y="69"/>
                    </a:lnTo>
                    <a:lnTo>
                      <a:pt x="253" y="70"/>
                    </a:lnTo>
                    <a:lnTo>
                      <a:pt x="254" y="72"/>
                    </a:lnTo>
                    <a:lnTo>
                      <a:pt x="254" y="73"/>
                    </a:lnTo>
                    <a:lnTo>
                      <a:pt x="253" y="74"/>
                    </a:lnTo>
                    <a:lnTo>
                      <a:pt x="252" y="73"/>
                    </a:lnTo>
                    <a:lnTo>
                      <a:pt x="250" y="72"/>
                    </a:lnTo>
                    <a:lnTo>
                      <a:pt x="249" y="70"/>
                    </a:lnTo>
                    <a:lnTo>
                      <a:pt x="248" y="70"/>
                    </a:lnTo>
                    <a:lnTo>
                      <a:pt x="247" y="70"/>
                    </a:lnTo>
                    <a:lnTo>
                      <a:pt x="246" y="72"/>
                    </a:lnTo>
                    <a:lnTo>
                      <a:pt x="246" y="73"/>
                    </a:lnTo>
                    <a:lnTo>
                      <a:pt x="246" y="74"/>
                    </a:lnTo>
                    <a:lnTo>
                      <a:pt x="245" y="74"/>
                    </a:lnTo>
                    <a:lnTo>
                      <a:pt x="243" y="74"/>
                    </a:lnTo>
                    <a:lnTo>
                      <a:pt x="241" y="75"/>
                    </a:lnTo>
                    <a:lnTo>
                      <a:pt x="239" y="73"/>
                    </a:lnTo>
                    <a:lnTo>
                      <a:pt x="238" y="72"/>
                    </a:lnTo>
                    <a:lnTo>
                      <a:pt x="238" y="70"/>
                    </a:lnTo>
                    <a:lnTo>
                      <a:pt x="239" y="69"/>
                    </a:lnTo>
                    <a:lnTo>
                      <a:pt x="237" y="67"/>
                    </a:lnTo>
                    <a:lnTo>
                      <a:pt x="237" y="66"/>
                    </a:lnTo>
                    <a:lnTo>
                      <a:pt x="237" y="65"/>
                    </a:lnTo>
                    <a:lnTo>
                      <a:pt x="237" y="62"/>
                    </a:lnTo>
                    <a:lnTo>
                      <a:pt x="237" y="61"/>
                    </a:lnTo>
                    <a:lnTo>
                      <a:pt x="235" y="61"/>
                    </a:lnTo>
                    <a:lnTo>
                      <a:pt x="234" y="60"/>
                    </a:lnTo>
                    <a:lnTo>
                      <a:pt x="233" y="60"/>
                    </a:lnTo>
                    <a:lnTo>
                      <a:pt x="233" y="58"/>
                    </a:lnTo>
                    <a:lnTo>
                      <a:pt x="233" y="56"/>
                    </a:lnTo>
                    <a:lnTo>
                      <a:pt x="232" y="56"/>
                    </a:lnTo>
                    <a:lnTo>
                      <a:pt x="231" y="55"/>
                    </a:lnTo>
                    <a:lnTo>
                      <a:pt x="230" y="55"/>
                    </a:lnTo>
                    <a:lnTo>
                      <a:pt x="231" y="55"/>
                    </a:lnTo>
                    <a:lnTo>
                      <a:pt x="232" y="53"/>
                    </a:lnTo>
                    <a:lnTo>
                      <a:pt x="232" y="52"/>
                    </a:lnTo>
                    <a:lnTo>
                      <a:pt x="232" y="51"/>
                    </a:lnTo>
                    <a:lnTo>
                      <a:pt x="231" y="48"/>
                    </a:lnTo>
                    <a:lnTo>
                      <a:pt x="231" y="47"/>
                    </a:lnTo>
                    <a:lnTo>
                      <a:pt x="231" y="45"/>
                    </a:lnTo>
                    <a:lnTo>
                      <a:pt x="230" y="45"/>
                    </a:lnTo>
                    <a:lnTo>
                      <a:pt x="227" y="46"/>
                    </a:lnTo>
                    <a:lnTo>
                      <a:pt x="226" y="46"/>
                    </a:lnTo>
                    <a:lnTo>
                      <a:pt x="224" y="44"/>
                    </a:lnTo>
                    <a:lnTo>
                      <a:pt x="225" y="42"/>
                    </a:lnTo>
                    <a:lnTo>
                      <a:pt x="226" y="41"/>
                    </a:lnTo>
                    <a:lnTo>
                      <a:pt x="227" y="40"/>
                    </a:lnTo>
                    <a:lnTo>
                      <a:pt x="230" y="40"/>
                    </a:lnTo>
                    <a:lnTo>
                      <a:pt x="231" y="39"/>
                    </a:lnTo>
                    <a:lnTo>
                      <a:pt x="231" y="38"/>
                    </a:lnTo>
                    <a:lnTo>
                      <a:pt x="232" y="37"/>
                    </a:lnTo>
                    <a:lnTo>
                      <a:pt x="231" y="35"/>
                    </a:lnTo>
                    <a:lnTo>
                      <a:pt x="231" y="34"/>
                    </a:lnTo>
                    <a:lnTo>
                      <a:pt x="232" y="34"/>
                    </a:lnTo>
                    <a:lnTo>
                      <a:pt x="233" y="35"/>
                    </a:lnTo>
                    <a:lnTo>
                      <a:pt x="234" y="34"/>
                    </a:lnTo>
                    <a:lnTo>
                      <a:pt x="237" y="32"/>
                    </a:lnTo>
                    <a:close/>
                    <a:moveTo>
                      <a:pt x="13" y="35"/>
                    </a:moveTo>
                    <a:lnTo>
                      <a:pt x="12" y="37"/>
                    </a:lnTo>
                    <a:lnTo>
                      <a:pt x="12" y="38"/>
                    </a:lnTo>
                    <a:lnTo>
                      <a:pt x="11" y="38"/>
                    </a:lnTo>
                    <a:lnTo>
                      <a:pt x="10" y="38"/>
                    </a:lnTo>
                    <a:lnTo>
                      <a:pt x="4" y="41"/>
                    </a:lnTo>
                    <a:lnTo>
                      <a:pt x="3" y="41"/>
                    </a:lnTo>
                    <a:lnTo>
                      <a:pt x="1" y="39"/>
                    </a:lnTo>
                    <a:lnTo>
                      <a:pt x="1" y="38"/>
                    </a:lnTo>
                    <a:lnTo>
                      <a:pt x="1" y="35"/>
                    </a:lnTo>
                    <a:lnTo>
                      <a:pt x="3" y="35"/>
                    </a:lnTo>
                    <a:lnTo>
                      <a:pt x="3" y="34"/>
                    </a:lnTo>
                    <a:lnTo>
                      <a:pt x="3" y="31"/>
                    </a:lnTo>
                    <a:lnTo>
                      <a:pt x="3" y="28"/>
                    </a:lnTo>
                    <a:lnTo>
                      <a:pt x="1" y="28"/>
                    </a:lnTo>
                    <a:lnTo>
                      <a:pt x="0" y="27"/>
                    </a:lnTo>
                    <a:lnTo>
                      <a:pt x="0" y="26"/>
                    </a:lnTo>
                    <a:lnTo>
                      <a:pt x="0" y="25"/>
                    </a:lnTo>
                    <a:lnTo>
                      <a:pt x="0" y="21"/>
                    </a:lnTo>
                    <a:lnTo>
                      <a:pt x="1" y="20"/>
                    </a:lnTo>
                    <a:lnTo>
                      <a:pt x="1" y="19"/>
                    </a:lnTo>
                    <a:lnTo>
                      <a:pt x="3" y="18"/>
                    </a:lnTo>
                    <a:lnTo>
                      <a:pt x="3" y="14"/>
                    </a:lnTo>
                    <a:lnTo>
                      <a:pt x="3" y="13"/>
                    </a:lnTo>
                    <a:lnTo>
                      <a:pt x="1" y="13"/>
                    </a:lnTo>
                    <a:lnTo>
                      <a:pt x="3" y="13"/>
                    </a:lnTo>
                    <a:lnTo>
                      <a:pt x="3" y="12"/>
                    </a:lnTo>
                    <a:lnTo>
                      <a:pt x="3" y="10"/>
                    </a:lnTo>
                    <a:lnTo>
                      <a:pt x="3" y="9"/>
                    </a:lnTo>
                    <a:lnTo>
                      <a:pt x="4" y="9"/>
                    </a:lnTo>
                    <a:lnTo>
                      <a:pt x="5" y="9"/>
                    </a:lnTo>
                    <a:lnTo>
                      <a:pt x="6" y="7"/>
                    </a:lnTo>
                    <a:lnTo>
                      <a:pt x="7" y="7"/>
                    </a:lnTo>
                    <a:lnTo>
                      <a:pt x="8" y="6"/>
                    </a:lnTo>
                    <a:lnTo>
                      <a:pt x="8" y="4"/>
                    </a:lnTo>
                    <a:lnTo>
                      <a:pt x="7" y="3"/>
                    </a:lnTo>
                    <a:lnTo>
                      <a:pt x="7" y="0"/>
                    </a:lnTo>
                    <a:lnTo>
                      <a:pt x="8" y="0"/>
                    </a:lnTo>
                    <a:lnTo>
                      <a:pt x="10" y="0"/>
                    </a:lnTo>
                    <a:lnTo>
                      <a:pt x="11" y="0"/>
                    </a:lnTo>
                    <a:lnTo>
                      <a:pt x="13" y="3"/>
                    </a:lnTo>
                    <a:lnTo>
                      <a:pt x="15" y="4"/>
                    </a:lnTo>
                    <a:lnTo>
                      <a:pt x="17" y="6"/>
                    </a:lnTo>
                    <a:lnTo>
                      <a:pt x="18" y="7"/>
                    </a:lnTo>
                    <a:lnTo>
                      <a:pt x="18" y="9"/>
                    </a:lnTo>
                    <a:lnTo>
                      <a:pt x="17" y="12"/>
                    </a:lnTo>
                    <a:lnTo>
                      <a:pt x="17" y="13"/>
                    </a:lnTo>
                    <a:lnTo>
                      <a:pt x="18" y="17"/>
                    </a:lnTo>
                    <a:lnTo>
                      <a:pt x="18" y="18"/>
                    </a:lnTo>
                    <a:lnTo>
                      <a:pt x="17" y="20"/>
                    </a:lnTo>
                    <a:lnTo>
                      <a:pt x="15" y="23"/>
                    </a:lnTo>
                    <a:lnTo>
                      <a:pt x="15" y="25"/>
                    </a:lnTo>
                    <a:lnTo>
                      <a:pt x="17" y="25"/>
                    </a:lnTo>
                    <a:lnTo>
                      <a:pt x="17" y="26"/>
                    </a:lnTo>
                    <a:lnTo>
                      <a:pt x="18" y="26"/>
                    </a:lnTo>
                    <a:lnTo>
                      <a:pt x="18" y="27"/>
                    </a:lnTo>
                    <a:lnTo>
                      <a:pt x="18" y="28"/>
                    </a:lnTo>
                    <a:lnTo>
                      <a:pt x="17" y="31"/>
                    </a:lnTo>
                    <a:lnTo>
                      <a:pt x="17" y="32"/>
                    </a:lnTo>
                    <a:lnTo>
                      <a:pt x="15" y="32"/>
                    </a:lnTo>
                    <a:lnTo>
                      <a:pt x="15" y="33"/>
                    </a:lnTo>
                    <a:lnTo>
                      <a:pt x="15" y="34"/>
                    </a:lnTo>
                    <a:lnTo>
                      <a:pt x="14" y="35"/>
                    </a:lnTo>
                    <a:lnTo>
                      <a:pt x="13" y="35"/>
                    </a:lnTo>
                    <a:close/>
                  </a:path>
                </a:pathLst>
              </a:custGeom>
              <a:grpFill/>
              <a:ln w="19050" cap="flat" cmpd="sng" algn="ctr">
                <a:solidFill>
                  <a:schemeClr val="bg1"/>
                </a:solidFill>
                <a:prstDash val="solid"/>
                <a:round/>
                <a:headEnd type="none" w="med" len="med"/>
                <a:tailEnd type="none" w="med" len="med"/>
              </a:ln>
            </p:spPr>
            <p:txBody>
              <a:bodyPr vert="horz" wrap="square" lIns="100584" tIns="50292" rIns="100584" bIns="50292" numCol="1" anchor="t"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sym typeface="Trebuchet MS" panose="020B0603020202020204" pitchFamily="34" charset="0"/>
                </a:endParaRPr>
              </a:p>
            </p:txBody>
          </p:sp>
        </p:grpSp>
        <p:cxnSp>
          <p:nvCxnSpPr>
            <p:cNvPr id="8" name="Straight Connector 53">
              <a:extLst>
                <a:ext uri="{FF2B5EF4-FFF2-40B4-BE49-F238E27FC236}">
                  <a16:creationId xmlns:a16="http://schemas.microsoft.com/office/drawing/2014/main" id="{D4E43F63-565C-4ABE-AC9A-3C33FE3583BC}"/>
                </a:ext>
              </a:extLst>
            </p:cNvPr>
            <p:cNvCxnSpPr/>
            <p:nvPr/>
          </p:nvCxnSpPr>
          <p:spPr>
            <a:xfrm flipV="1">
              <a:off x="4278816" y="1979630"/>
              <a:ext cx="13970" cy="1082103"/>
            </a:xfrm>
            <a:prstGeom prst="straightConnector1">
              <a:avLst/>
            </a:prstGeom>
            <a:noFill/>
            <a:ln w="20955" cap="rnd" cmpd="sng" algn="ctr">
              <a:solidFill>
                <a:schemeClr val="accent4">
                  <a:lumMod val="75000"/>
                </a:schemeClr>
              </a:solidFill>
              <a:prstDash val="solid"/>
              <a:round/>
              <a:headEnd type="oval" w="med" len="med"/>
              <a:tailEnd type="none" w="sm" len="sm"/>
            </a:ln>
            <a:effectLst/>
          </p:spPr>
        </p:cxnSp>
        <p:sp>
          <p:nvSpPr>
            <p:cNvPr id="9" name="Rectangle 8">
              <a:extLst>
                <a:ext uri="{FF2B5EF4-FFF2-40B4-BE49-F238E27FC236}">
                  <a16:creationId xmlns:a16="http://schemas.microsoft.com/office/drawing/2014/main" id="{20AFEA98-6877-4268-914B-3833BEA00F41}"/>
                </a:ext>
              </a:extLst>
            </p:cNvPr>
            <p:cNvSpPr/>
            <p:nvPr/>
          </p:nvSpPr>
          <p:spPr>
            <a:xfrm>
              <a:off x="3910934" y="1640596"/>
              <a:ext cx="2561121" cy="345986"/>
            </a:xfrm>
            <a:prstGeom prst="rect">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txBody>
            <a:bodyPr lIns="50292" tIns="0" rIns="0" bIns="0" rtlCol="0" anchor="ctr" anchorCtr="0"/>
            <a:lstStyle/>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Online Employment Services (OES) </a:t>
              </a:r>
            </a:p>
          </p:txBody>
        </p:sp>
        <p:sp>
          <p:nvSpPr>
            <p:cNvPr id="10" name="Rectangle 9">
              <a:extLst>
                <a:ext uri="{FF2B5EF4-FFF2-40B4-BE49-F238E27FC236}">
                  <a16:creationId xmlns:a16="http://schemas.microsoft.com/office/drawing/2014/main" id="{3BCD93BF-01EB-44F2-88C6-EDAB56B6FF17}"/>
                </a:ext>
              </a:extLst>
            </p:cNvPr>
            <p:cNvSpPr/>
            <p:nvPr/>
          </p:nvSpPr>
          <p:spPr>
            <a:xfrm>
              <a:off x="862570" y="2553421"/>
              <a:ext cx="1456094" cy="697234"/>
            </a:xfrm>
            <a:prstGeom prst="rect">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txBody>
            <a:bodyPr lIns="50292" tIns="0" rIns="0" bIns="0" rtlCol="0" anchor="ctr" anchorCtr="0"/>
            <a:lstStyle/>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Voluntary Online Employment (VOEST</a:t>
              </a:r>
              <a:r>
                <a:rPr kumimoji="0" lang="en-US" sz="1320" b="1" i="0" u="none" strike="noStrike" kern="1200" cap="none" spc="0" normalizeH="0" baseline="0" noProof="0" dirty="0">
                  <a:ln>
                    <a:noFill/>
                  </a:ln>
                  <a:solidFill>
                    <a:srgbClr val="000000"/>
                  </a:solidFill>
                  <a:effectLst/>
                  <a:uLnTx/>
                  <a:uFillTx/>
                  <a:latin typeface="Arial Nova Cond" panose="020B0506020202020204" pitchFamily="34" charset="0"/>
                </a:rPr>
                <a:t>) </a:t>
              </a:r>
            </a:p>
          </p:txBody>
        </p:sp>
        <p:sp>
          <p:nvSpPr>
            <p:cNvPr id="11" name="Rectangle 10">
              <a:extLst>
                <a:ext uri="{FF2B5EF4-FFF2-40B4-BE49-F238E27FC236}">
                  <a16:creationId xmlns:a16="http://schemas.microsoft.com/office/drawing/2014/main" id="{E104D60D-3173-417B-AA1B-AE4389F29D2B}"/>
                </a:ext>
              </a:extLst>
            </p:cNvPr>
            <p:cNvSpPr/>
            <p:nvPr/>
          </p:nvSpPr>
          <p:spPr>
            <a:xfrm>
              <a:off x="5957623" y="2574131"/>
              <a:ext cx="1727529" cy="745799"/>
            </a:xfrm>
            <a:prstGeom prst="rect">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txBody>
            <a:bodyPr lIns="50292" tIns="0" rIns="0" bIns="0" rtlCol="0" anchor="ctr" anchorCtr="0"/>
            <a:lstStyle/>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New Employment Services Trial (NEST)</a:t>
              </a:r>
            </a:p>
          </p:txBody>
        </p:sp>
        <p:cxnSp>
          <p:nvCxnSpPr>
            <p:cNvPr id="16" name="Straight Connector 53">
              <a:extLst>
                <a:ext uri="{FF2B5EF4-FFF2-40B4-BE49-F238E27FC236}">
                  <a16:creationId xmlns:a16="http://schemas.microsoft.com/office/drawing/2014/main" id="{10450E65-141D-497D-9F64-7A6A07D0071D}"/>
                </a:ext>
              </a:extLst>
            </p:cNvPr>
            <p:cNvCxnSpPr>
              <a:cxnSpLocks/>
              <a:stCxn id="22" idx="24"/>
              <a:endCxn id="11" idx="1"/>
            </p:cNvCxnSpPr>
            <p:nvPr/>
          </p:nvCxnSpPr>
          <p:spPr>
            <a:xfrm flipV="1">
              <a:off x="4556085" y="2947031"/>
              <a:ext cx="1401538" cy="961167"/>
            </a:xfrm>
            <a:prstGeom prst="bentConnector3">
              <a:avLst>
                <a:gd name="adj1" fmla="val 50000"/>
              </a:avLst>
            </a:prstGeom>
            <a:noFill/>
            <a:ln w="20955" cap="rnd" cmpd="sng" algn="ctr">
              <a:solidFill>
                <a:schemeClr val="accent4">
                  <a:lumMod val="75000"/>
                </a:schemeClr>
              </a:solidFill>
              <a:prstDash val="solid"/>
              <a:round/>
              <a:headEnd type="oval" w="med" len="med"/>
              <a:tailEnd type="none" w="sm" len="sm"/>
            </a:ln>
            <a:effectLst/>
          </p:spPr>
        </p:cxnSp>
        <p:cxnSp>
          <p:nvCxnSpPr>
            <p:cNvPr id="18" name="Straight Connector 53">
              <a:extLst>
                <a:ext uri="{FF2B5EF4-FFF2-40B4-BE49-F238E27FC236}">
                  <a16:creationId xmlns:a16="http://schemas.microsoft.com/office/drawing/2014/main" id="{F4754D75-9A9E-46B2-97AD-E4B5FA3C2AD5}"/>
                </a:ext>
              </a:extLst>
            </p:cNvPr>
            <p:cNvCxnSpPr>
              <a:cxnSpLocks/>
            </p:cNvCxnSpPr>
            <p:nvPr/>
          </p:nvCxnSpPr>
          <p:spPr>
            <a:xfrm flipV="1">
              <a:off x="5612839" y="2960567"/>
              <a:ext cx="0" cy="612877"/>
            </a:xfrm>
            <a:prstGeom prst="straightConnector1">
              <a:avLst/>
            </a:prstGeom>
            <a:noFill/>
            <a:ln w="20955" cap="rnd" cmpd="sng" algn="ctr">
              <a:solidFill>
                <a:schemeClr val="accent4">
                  <a:lumMod val="75000"/>
                </a:schemeClr>
              </a:solidFill>
              <a:prstDash val="solid"/>
              <a:round/>
              <a:headEnd type="oval" w="med" len="med"/>
              <a:tailEnd type="none" w="sm" len="sm"/>
            </a:ln>
            <a:effectLst/>
          </p:spPr>
        </p:cxnSp>
        <p:cxnSp>
          <p:nvCxnSpPr>
            <p:cNvPr id="5" name="Straight Connector 4">
              <a:extLst>
                <a:ext uri="{FF2B5EF4-FFF2-40B4-BE49-F238E27FC236}">
                  <a16:creationId xmlns:a16="http://schemas.microsoft.com/office/drawing/2014/main" id="{F5CCFDDE-58BF-498F-BE36-119B65F91603}"/>
                </a:ext>
              </a:extLst>
            </p:cNvPr>
            <p:cNvCxnSpPr>
              <a:cxnSpLocks/>
              <a:stCxn id="10" idx="3"/>
            </p:cNvCxnSpPr>
            <p:nvPr/>
          </p:nvCxnSpPr>
          <p:spPr>
            <a:xfrm>
              <a:off x="2318664" y="2902038"/>
              <a:ext cx="1974122" cy="0"/>
            </a:xfrm>
            <a:prstGeom prst="line">
              <a:avLst/>
            </a:prstGeom>
            <a:noFill/>
            <a:ln w="20955" cap="rnd" cmpd="sng" algn="ctr">
              <a:solidFill>
                <a:schemeClr val="accent4">
                  <a:lumMod val="75000"/>
                </a:schemeClr>
              </a:solidFill>
              <a:prstDash val="solid"/>
              <a:round/>
              <a:headEnd type="none" w="med" len="med"/>
              <a:tailEnd type="none" w="med" len="med"/>
            </a:ln>
            <a:effectLst/>
          </p:spPr>
        </p:cxnSp>
        <p:sp>
          <p:nvSpPr>
            <p:cNvPr id="27" name="Rectangle 26">
              <a:extLst>
                <a:ext uri="{FF2B5EF4-FFF2-40B4-BE49-F238E27FC236}">
                  <a16:creationId xmlns:a16="http://schemas.microsoft.com/office/drawing/2014/main" id="{D1FCD833-648D-4910-A487-EF26E63D73B8}"/>
                </a:ext>
              </a:extLst>
            </p:cNvPr>
            <p:cNvSpPr/>
            <p:nvPr/>
          </p:nvSpPr>
          <p:spPr>
            <a:xfrm>
              <a:off x="1889642" y="1422594"/>
              <a:ext cx="1482855" cy="781989"/>
            </a:xfrm>
            <a:prstGeom prst="rect">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txBody>
            <a:bodyPr lIns="50292" tIns="0" rIns="0" bIns="0" rtlCol="0" anchor="ctr" anchorCtr="0"/>
            <a:lstStyle/>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Online Employment Services Trial</a:t>
              </a:r>
            </a:p>
            <a:p>
              <a:pPr marL="0" marR="0" lvl="0" indent="0" algn="ctr" defTabSz="685800" rtl="0" eaLnBrk="1" fontAlgn="auto" latinLnBrk="0" hangingPunct="1">
                <a:lnSpc>
                  <a:spcPct val="100000"/>
                </a:lnSpc>
                <a:spcBef>
                  <a:spcPts val="0"/>
                </a:spcBef>
                <a:spcAft>
                  <a:spcPts val="0"/>
                </a:spcAft>
                <a:buClr>
                  <a:srgbClr val="002D3F">
                    <a:lumMod val="100000"/>
                  </a:srgbClr>
                </a:buClr>
                <a:buSzPct val="100000"/>
                <a:buFont typeface="Trebuchet MS" panose="020B0603020202020204" pitchFamily="34" charset="0"/>
                <a:buChar char="​"/>
                <a:tabLst/>
                <a:defRPr/>
              </a:pPr>
              <a:r>
                <a:rPr kumimoji="0" lang="en-US" sz="1320" b="1" i="0" u="none" strike="noStrike" kern="1200" cap="none" spc="0" normalizeH="0" baseline="0" noProof="0" dirty="0">
                  <a:ln>
                    <a:noFill/>
                  </a:ln>
                  <a:solidFill>
                    <a:srgbClr val="002060"/>
                  </a:solidFill>
                  <a:effectLst/>
                  <a:uLnTx/>
                  <a:uFillTx/>
                  <a:latin typeface="Arial Nova Cond" panose="020B0506020202020204" pitchFamily="34" charset="0"/>
                </a:rPr>
                <a:t> (OEST) </a:t>
              </a:r>
            </a:p>
          </p:txBody>
        </p:sp>
        <p:cxnSp>
          <p:nvCxnSpPr>
            <p:cNvPr id="12" name="Straight Connector 11">
              <a:extLst>
                <a:ext uri="{FF2B5EF4-FFF2-40B4-BE49-F238E27FC236}">
                  <a16:creationId xmlns:a16="http://schemas.microsoft.com/office/drawing/2014/main" id="{3784E195-78E7-4D99-9D47-67711CF58C91}"/>
                </a:ext>
              </a:extLst>
            </p:cNvPr>
            <p:cNvCxnSpPr>
              <a:stCxn id="27" idx="3"/>
              <a:endCxn id="9" idx="1"/>
            </p:cNvCxnSpPr>
            <p:nvPr/>
          </p:nvCxnSpPr>
          <p:spPr>
            <a:xfrm>
              <a:off x="3372497" y="1813589"/>
              <a:ext cx="538437" cy="0"/>
            </a:xfrm>
            <a:prstGeom prst="line">
              <a:avLst/>
            </a:prstGeom>
            <a:noFill/>
            <a:ln w="20955" cap="rnd" cmpd="sng" algn="ctr">
              <a:solidFill>
                <a:srgbClr val="9A9A9A"/>
              </a:solidFill>
              <a:prstDash val="sysDot"/>
              <a:round/>
              <a:headEnd type="none" w="med" len="med"/>
              <a:tailEnd type="none" w="med" len="med"/>
            </a:ln>
            <a:effectLst/>
            <a:extLst>
              <a:ext uri="{909E8E84-426E-40DD-AFC4-6F175D3DCCD1}">
                <a14:hiddenFill xmlns:a14="http://schemas.microsoft.com/office/drawing/2010/main">
                  <a:solidFill>
                    <a:srgbClr val="00425C"/>
                  </a:solidFill>
                </a14:hiddenFill>
              </a:ext>
            </a:extLst>
          </p:spPr>
        </p:cxnSp>
      </p:grpSp>
      <p:sp>
        <p:nvSpPr>
          <p:cNvPr id="26" name="TextBox 25">
            <a:extLst>
              <a:ext uri="{FF2B5EF4-FFF2-40B4-BE49-F238E27FC236}">
                <a16:creationId xmlns:a16="http://schemas.microsoft.com/office/drawing/2014/main" id="{4A0C6176-437A-4EC4-9373-90E86AAA60D1}"/>
              </a:ext>
            </a:extLst>
          </p:cNvPr>
          <p:cNvSpPr txBox="1"/>
          <p:nvPr/>
        </p:nvSpPr>
        <p:spPr>
          <a:xfrm>
            <a:off x="8375904" y="4808332"/>
            <a:ext cx="285750" cy="115416"/>
          </a:xfrm>
          <a:prstGeom prst="rect">
            <a:avLst/>
          </a:prstGeom>
          <a:noFill/>
        </p:spPr>
        <p:txBody>
          <a:bodyPr wrap="square" lIns="0" tIns="0" rIns="0" bIns="0" rtlCol="0" anchor="b">
            <a:spAutoFit/>
          </a:bodyPr>
          <a:lstStyle/>
          <a:p>
            <a:pPr marL="0" marR="0" indent="0" algn="r" defTabSz="685783"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latin typeface="+mn-lt"/>
                <a:ea typeface="+mn-ea"/>
                <a:cs typeface="+mn-cs"/>
                <a:sym typeface="+mn-lt"/>
              </a:rPr>
              <a:pPr marL="0" marR="0" indent="0" algn="r" defTabSz="685783" rtl="0" eaLnBrk="1" fontAlgn="auto" latinLnBrk="0" hangingPunct="1">
                <a:lnSpc>
                  <a:spcPct val="100000"/>
                </a:lnSpc>
                <a:spcBef>
                  <a:spcPts val="0"/>
                </a:spcBef>
                <a:spcAft>
                  <a:spcPts val="0"/>
                </a:spcAft>
                <a:buClrTx/>
                <a:buSzTx/>
                <a:buFontTx/>
                <a:buNone/>
                <a:tabLst/>
                <a:defRPr/>
              </a:pPr>
              <a:t>3</a:t>
            </a:fld>
            <a:endParaRPr lang="en-US" sz="600" kern="1200">
              <a:latin typeface="+mn-lt"/>
              <a:ea typeface="+mn-ea"/>
              <a:cs typeface="+mn-cs"/>
              <a:sym typeface="+mn-lt"/>
            </a:endParaRPr>
          </a:p>
        </p:txBody>
      </p:sp>
    </p:spTree>
    <p:extLst>
      <p:ext uri="{BB962C8B-B14F-4D97-AF65-F5344CB8AC3E}">
        <p14:creationId xmlns:p14="http://schemas.microsoft.com/office/powerpoint/2010/main" val="2910758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B0D1233A-04E5-40EA-B4BA-0E696190B93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62892" y="2152594"/>
            <a:ext cx="1780364" cy="1780364"/>
          </a:xfrm>
          <a:prstGeom prst="rect">
            <a:avLst/>
          </a:prstGeom>
        </p:spPr>
      </p:pic>
      <p:sp>
        <p:nvSpPr>
          <p:cNvPr id="6" name="TextBox 5">
            <a:extLst>
              <a:ext uri="{FF2B5EF4-FFF2-40B4-BE49-F238E27FC236}">
                <a16:creationId xmlns:a16="http://schemas.microsoft.com/office/drawing/2014/main" id="{4D278B61-3B2E-48E3-A40D-E5C635736908}"/>
              </a:ext>
            </a:extLst>
          </p:cNvPr>
          <p:cNvSpPr txBox="1"/>
          <p:nvPr/>
        </p:nvSpPr>
        <p:spPr>
          <a:xfrm flipH="1">
            <a:off x="3845739" y="2680165"/>
            <a:ext cx="3698061" cy="1015663"/>
          </a:xfrm>
          <a:prstGeom prst="rect">
            <a:avLst/>
          </a:prstGeom>
          <a:noFill/>
        </p:spPr>
        <p:txBody>
          <a:bodyPr wrap="square" rtlCol="0">
            <a:spAutoFit/>
          </a:bodyPr>
          <a:lstStyle/>
          <a:p>
            <a:r>
              <a:rPr lang="en-AU" sz="2000" dirty="0">
                <a:solidFill>
                  <a:schemeClr val="bg1"/>
                </a:solidFill>
                <a:latin typeface="Arial Nova Cond" panose="020B0506020202020204" pitchFamily="34" charset="0"/>
              </a:rPr>
              <a:t>OES allows job seekers to manage their job search and reporting requirements online.</a:t>
            </a:r>
          </a:p>
        </p:txBody>
      </p:sp>
      <p:sp>
        <p:nvSpPr>
          <p:cNvPr id="2" name="Title 1">
            <a:extLst>
              <a:ext uri="{FF2B5EF4-FFF2-40B4-BE49-F238E27FC236}">
                <a16:creationId xmlns:a16="http://schemas.microsoft.com/office/drawing/2014/main" id="{2995487F-B78F-4951-BE3C-812F25CCE63F}"/>
              </a:ext>
            </a:extLst>
          </p:cNvPr>
          <p:cNvSpPr>
            <a:spLocks noGrp="1"/>
          </p:cNvSpPr>
          <p:nvPr>
            <p:ph type="title" idx="4294967295"/>
          </p:nvPr>
        </p:nvSpPr>
        <p:spPr>
          <a:xfrm>
            <a:off x="457200" y="563999"/>
            <a:ext cx="6364188" cy="993775"/>
          </a:xfrm>
        </p:spPr>
        <p:txBody>
          <a:bodyPr/>
          <a:lstStyle/>
          <a:p>
            <a:r>
              <a:rPr lang="en-AU" sz="2400" b="1" dirty="0">
                <a:solidFill>
                  <a:schemeClr val="bg1"/>
                </a:solidFill>
                <a:latin typeface="Arial Nova" panose="020B0504020202020204" pitchFamily="34" charset="0"/>
              </a:rPr>
              <a:t>Online Employment Services (OES)</a:t>
            </a:r>
          </a:p>
        </p:txBody>
      </p:sp>
    </p:spTree>
    <p:extLst>
      <p:ext uri="{BB962C8B-B14F-4D97-AF65-F5344CB8AC3E}">
        <p14:creationId xmlns:p14="http://schemas.microsoft.com/office/powerpoint/2010/main" val="3784031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C2F41F-7513-44EB-A20D-EE4CF93EF77C}"/>
              </a:ext>
            </a:extLst>
          </p:cNvPr>
          <p:cNvSpPr>
            <a:spLocks noGrp="1"/>
          </p:cNvSpPr>
          <p:nvPr>
            <p:ph type="title"/>
          </p:nvPr>
        </p:nvSpPr>
        <p:spPr>
          <a:xfrm>
            <a:off x="457200" y="349200"/>
            <a:ext cx="6669464" cy="993775"/>
          </a:xfrm>
        </p:spPr>
        <p:txBody>
          <a:bodyPr>
            <a:normAutofit/>
          </a:bodyPr>
          <a:lstStyle/>
          <a:p>
            <a:r>
              <a:rPr lang="en-AU" sz="2400" b="1" dirty="0">
                <a:solidFill>
                  <a:srgbClr val="002D3F"/>
                </a:solidFill>
                <a:latin typeface="Arial Nova" panose="020B0504020202020204" pitchFamily="34" charset="0"/>
              </a:rPr>
              <a:t>Online services caseload over time </a:t>
            </a:r>
            <a:br>
              <a:rPr lang="en-AU" sz="2400" b="1" dirty="0">
                <a:solidFill>
                  <a:srgbClr val="002D3F"/>
                </a:solidFill>
                <a:latin typeface="Arial Nova" panose="020B0504020202020204" pitchFamily="34" charset="0"/>
              </a:rPr>
            </a:br>
            <a:r>
              <a:rPr lang="en-AU" sz="2400" b="1" dirty="0">
                <a:solidFill>
                  <a:srgbClr val="002D3F"/>
                </a:solidFill>
                <a:latin typeface="Arial Nova" panose="020B0504020202020204" pitchFamily="34" charset="0"/>
              </a:rPr>
              <a:t>(excluding NEST) 2020 – 2021</a:t>
            </a:r>
          </a:p>
        </p:txBody>
      </p:sp>
      <p:sp>
        <p:nvSpPr>
          <p:cNvPr id="2" name="TextBox 1">
            <a:extLst>
              <a:ext uri="{FF2B5EF4-FFF2-40B4-BE49-F238E27FC236}">
                <a16:creationId xmlns:a16="http://schemas.microsoft.com/office/drawing/2014/main" id="{0D2166D5-42D3-4990-9978-3631F83D99D6}"/>
              </a:ext>
            </a:extLst>
          </p:cNvPr>
          <p:cNvSpPr txBox="1"/>
          <p:nvPr/>
        </p:nvSpPr>
        <p:spPr>
          <a:xfrm>
            <a:off x="6154756" y="4668258"/>
            <a:ext cx="1943816" cy="261610"/>
          </a:xfrm>
          <a:prstGeom prst="rect">
            <a:avLst/>
          </a:prstGeom>
          <a:noFill/>
        </p:spPr>
        <p:txBody>
          <a:bodyPr wrap="square" rtlCol="0">
            <a:spAutoFit/>
          </a:bodyPr>
          <a:lstStyle/>
          <a:p>
            <a:pPr algn="r"/>
            <a:r>
              <a:rPr lang="en-AU" sz="1100" i="1" dirty="0">
                <a:solidFill>
                  <a:schemeClr val="tx1">
                    <a:lumMod val="50000"/>
                    <a:lumOff val="50000"/>
                  </a:schemeClr>
                </a:solidFill>
              </a:rPr>
              <a:t>Data as at 30 April 2021</a:t>
            </a:r>
          </a:p>
        </p:txBody>
      </p:sp>
      <p:graphicFrame>
        <p:nvGraphicFramePr>
          <p:cNvPr id="5" name="Chart 4" descr="A small trial of online employment services in February 2020 to a strong demand in April-May 2021 for the service as a result of COVID.">
            <a:extLst>
              <a:ext uri="{FF2B5EF4-FFF2-40B4-BE49-F238E27FC236}">
                <a16:creationId xmlns:a16="http://schemas.microsoft.com/office/drawing/2014/main" id="{F709860B-4F77-4510-8683-2E680FAE05C9}"/>
              </a:ext>
            </a:extLst>
          </p:cNvPr>
          <p:cNvGraphicFramePr>
            <a:graphicFrameLocks/>
          </p:cNvGraphicFramePr>
          <p:nvPr>
            <p:extLst>
              <p:ext uri="{D42A27DB-BD31-4B8C-83A1-F6EECF244321}">
                <p14:modId xmlns:p14="http://schemas.microsoft.com/office/powerpoint/2010/main" val="2735896624"/>
              </p:ext>
            </p:extLst>
          </p:nvPr>
        </p:nvGraphicFramePr>
        <p:xfrm>
          <a:off x="862200" y="1451311"/>
          <a:ext cx="7419600" cy="302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33655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16">
            <a:extLst>
              <a:ext uri="{FF2B5EF4-FFF2-40B4-BE49-F238E27FC236}">
                <a16:creationId xmlns:a16="http://schemas.microsoft.com/office/drawing/2014/main" id="{A0F2CCBF-4D02-4FF0-A49D-362A083A3265}"/>
              </a:ext>
              <a:ext uri="{C183D7F6-B498-43B3-948B-1728B52AA6E4}">
                <adec:decorative xmlns:adec="http://schemas.microsoft.com/office/drawing/2017/decorative" val="1"/>
              </a:ext>
            </a:extLst>
          </p:cNvPr>
          <p:cNvSpPr/>
          <p:nvPr/>
        </p:nvSpPr>
        <p:spPr>
          <a:xfrm>
            <a:off x="461913" y="1531443"/>
            <a:ext cx="8276734" cy="2875176"/>
          </a:xfrm>
          <a:prstGeom prst="roundRect">
            <a:avLst>
              <a:gd name="adj" fmla="val 5168"/>
            </a:avLst>
          </a:prstGeom>
          <a:solidFill>
            <a:schemeClr val="bg1"/>
          </a:solidFill>
          <a:ln>
            <a:noFill/>
          </a:ln>
          <a:effectLst>
            <a:outerShdw blurRad="114300" dist="50800" dir="18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6" name="Title 5"/>
          <p:cNvSpPr>
            <a:spLocks noGrp="1"/>
          </p:cNvSpPr>
          <p:nvPr>
            <p:ph type="title"/>
          </p:nvPr>
        </p:nvSpPr>
        <p:spPr/>
        <p:txBody>
          <a:bodyPr>
            <a:normAutofit/>
          </a:bodyPr>
          <a:lstStyle/>
          <a:p>
            <a:r>
              <a:rPr lang="en-AU" sz="2400" b="1" dirty="0">
                <a:solidFill>
                  <a:srgbClr val="002D41"/>
                </a:solidFill>
                <a:latin typeface="Arial Nova" panose="020B0504020202020204" pitchFamily="34" charset="0"/>
              </a:rPr>
              <a:t>Exits from online services </a:t>
            </a:r>
            <a:br>
              <a:rPr lang="en-AU" sz="2400" b="1" dirty="0">
                <a:solidFill>
                  <a:srgbClr val="002D41"/>
                </a:solidFill>
                <a:latin typeface="Arial Nova" panose="020B0504020202020204" pitchFamily="34" charset="0"/>
              </a:rPr>
            </a:br>
            <a:endParaRPr lang="en-US" sz="2400" b="1" dirty="0">
              <a:solidFill>
                <a:srgbClr val="002D41"/>
              </a:solidFill>
              <a:latin typeface="Arial Nova" panose="020B0504020202020204" pitchFamily="34" charset="0"/>
            </a:endParaRPr>
          </a:p>
        </p:txBody>
      </p:sp>
      <p:graphicFrame>
        <p:nvGraphicFramePr>
          <p:cNvPr id="7" name="Chart 6" descr="71 percent participants who left online services have moved into employment. A quarter left to go to other employment services. A small number exited to study or for other reasons.">
            <a:extLst>
              <a:ext uri="{FF2B5EF4-FFF2-40B4-BE49-F238E27FC236}">
                <a16:creationId xmlns:a16="http://schemas.microsoft.com/office/drawing/2014/main" id="{B73F936A-18BD-41EA-9D80-5F52D7D7E22F}"/>
              </a:ext>
            </a:extLst>
          </p:cNvPr>
          <p:cNvGraphicFramePr>
            <a:graphicFrameLocks/>
          </p:cNvGraphicFramePr>
          <p:nvPr>
            <p:extLst>
              <p:ext uri="{D42A27DB-BD31-4B8C-83A1-F6EECF244321}">
                <p14:modId xmlns:p14="http://schemas.microsoft.com/office/powerpoint/2010/main" val="346440738"/>
              </p:ext>
            </p:extLst>
          </p:nvPr>
        </p:nvGraphicFramePr>
        <p:xfrm>
          <a:off x="747720" y="1269805"/>
          <a:ext cx="7585575" cy="3398453"/>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BD42251E-267B-4F02-ACC9-25E4C0D024B2}"/>
              </a:ext>
            </a:extLst>
          </p:cNvPr>
          <p:cNvSpPr txBox="1"/>
          <p:nvPr/>
        </p:nvSpPr>
        <p:spPr>
          <a:xfrm>
            <a:off x="6154756" y="4668258"/>
            <a:ext cx="1943816" cy="261610"/>
          </a:xfrm>
          <a:prstGeom prst="rect">
            <a:avLst/>
          </a:prstGeom>
          <a:noFill/>
        </p:spPr>
        <p:txBody>
          <a:bodyPr wrap="square" rtlCol="0">
            <a:spAutoFit/>
          </a:bodyPr>
          <a:lstStyle/>
          <a:p>
            <a:pPr algn="r"/>
            <a:r>
              <a:rPr lang="en-AU" sz="1100" i="1" dirty="0">
                <a:solidFill>
                  <a:schemeClr val="tx1">
                    <a:lumMod val="50000"/>
                    <a:lumOff val="50000"/>
                  </a:schemeClr>
                </a:solidFill>
              </a:rPr>
              <a:t>Data as </a:t>
            </a:r>
            <a:r>
              <a:rPr lang="en-AU" sz="1100" i="1">
                <a:solidFill>
                  <a:schemeClr val="tx1">
                    <a:lumMod val="50000"/>
                    <a:lumOff val="50000"/>
                  </a:schemeClr>
                </a:solidFill>
              </a:rPr>
              <a:t>at 30 April 2021</a:t>
            </a:r>
            <a:endParaRPr lang="en-AU" sz="1100" i="1" dirty="0">
              <a:solidFill>
                <a:schemeClr val="tx1">
                  <a:lumMod val="50000"/>
                  <a:lumOff val="50000"/>
                </a:schemeClr>
              </a:solidFill>
            </a:endParaRPr>
          </a:p>
        </p:txBody>
      </p:sp>
    </p:spTree>
    <p:extLst>
      <p:ext uri="{BB962C8B-B14F-4D97-AF65-F5344CB8AC3E}">
        <p14:creationId xmlns:p14="http://schemas.microsoft.com/office/powerpoint/2010/main" val="68295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E1D1E12-194E-42E2-9A63-D991731F5624}"/>
              </a:ext>
              <a:ext uri="{C183D7F6-B498-43B3-948B-1728B52AA6E4}">
                <adec:decorative xmlns:adec="http://schemas.microsoft.com/office/drawing/2017/decorative" val="1"/>
              </a:ext>
            </a:extLst>
          </p:cNvPr>
          <p:cNvGrpSpPr/>
          <p:nvPr/>
        </p:nvGrpSpPr>
        <p:grpSpPr>
          <a:xfrm>
            <a:off x="2200078" y="1217319"/>
            <a:ext cx="4275354" cy="3471386"/>
            <a:chOff x="2703241" y="1268973"/>
            <a:chExt cx="3501461" cy="1182567"/>
          </a:xfrm>
        </p:grpSpPr>
        <p:sp>
          <p:nvSpPr>
            <p:cNvPr id="21" name="Rectangle: Rounded Corners 20">
              <a:extLst>
                <a:ext uri="{FF2B5EF4-FFF2-40B4-BE49-F238E27FC236}">
                  <a16:creationId xmlns:a16="http://schemas.microsoft.com/office/drawing/2014/main" id="{7414A535-E148-44AF-9DC5-A068B654CFE4}"/>
                </a:ext>
              </a:extLst>
            </p:cNvPr>
            <p:cNvSpPr/>
            <p:nvPr/>
          </p:nvSpPr>
          <p:spPr>
            <a:xfrm rot="10800000">
              <a:off x="2703242" y="1268973"/>
              <a:ext cx="3501460" cy="1182567"/>
            </a:xfrm>
            <a:prstGeom prst="roundRect">
              <a:avLst>
                <a:gd name="adj" fmla="val 5168"/>
              </a:avLst>
            </a:prstGeom>
            <a:solidFill>
              <a:schemeClr val="bg1"/>
            </a:solidFill>
            <a:ln>
              <a:noFill/>
            </a:ln>
            <a:effectLst>
              <a:outerShdw blurRad="635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22" name="Freeform: Shape 21">
              <a:extLst>
                <a:ext uri="{FF2B5EF4-FFF2-40B4-BE49-F238E27FC236}">
                  <a16:creationId xmlns:a16="http://schemas.microsoft.com/office/drawing/2014/main" id="{C853187C-E28A-42C9-ADB6-E85302844273}"/>
                </a:ext>
              </a:extLst>
            </p:cNvPr>
            <p:cNvSpPr/>
            <p:nvPr/>
          </p:nvSpPr>
          <p:spPr>
            <a:xfrm rot="10800000">
              <a:off x="2703241" y="1268973"/>
              <a:ext cx="76424" cy="1182567"/>
            </a:xfrm>
            <a:custGeom>
              <a:avLst/>
              <a:gdLst>
                <a:gd name="connsiteX0" fmla="*/ 0 w 225830"/>
                <a:gd name="connsiteY0" fmla="*/ 0 h 2554926"/>
                <a:gd name="connsiteX1" fmla="*/ 93791 w 225830"/>
                <a:gd name="connsiteY1" fmla="*/ 0 h 2554926"/>
                <a:gd name="connsiteX2" fmla="*/ 225830 w 225830"/>
                <a:gd name="connsiteY2" fmla="*/ 132039 h 2554926"/>
                <a:gd name="connsiteX3" fmla="*/ 225830 w 225830"/>
                <a:gd name="connsiteY3" fmla="*/ 2422887 h 2554926"/>
                <a:gd name="connsiteX4" fmla="*/ 93791 w 225830"/>
                <a:gd name="connsiteY4" fmla="*/ 2554926 h 2554926"/>
                <a:gd name="connsiteX5" fmla="*/ 0 w 225830"/>
                <a:gd name="connsiteY5" fmla="*/ 2554926 h 255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30" h="2554926">
                  <a:moveTo>
                    <a:pt x="0" y="0"/>
                  </a:moveTo>
                  <a:lnTo>
                    <a:pt x="93791" y="0"/>
                  </a:lnTo>
                  <a:cubicBezTo>
                    <a:pt x="166714" y="0"/>
                    <a:pt x="225830" y="59116"/>
                    <a:pt x="225830" y="132039"/>
                  </a:cubicBezTo>
                  <a:lnTo>
                    <a:pt x="225830" y="2422887"/>
                  </a:lnTo>
                  <a:cubicBezTo>
                    <a:pt x="225830" y="2495810"/>
                    <a:pt x="166714" y="2554926"/>
                    <a:pt x="93791" y="2554926"/>
                  </a:cubicBezTo>
                  <a:lnTo>
                    <a:pt x="0" y="2554926"/>
                  </a:lnTo>
                  <a:close/>
                </a:path>
              </a:pathLst>
            </a:custGeom>
            <a:solidFill>
              <a:srgbClr val="287D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grpSp>
      <p:sp>
        <p:nvSpPr>
          <p:cNvPr id="7" name="Arrow: Right 6">
            <a:extLst>
              <a:ext uri="{FF2B5EF4-FFF2-40B4-BE49-F238E27FC236}">
                <a16:creationId xmlns:a16="http://schemas.microsoft.com/office/drawing/2014/main" id="{1FD3DF54-90E5-44BB-818D-DA69E3513A77}"/>
              </a:ext>
              <a:ext uri="{C183D7F6-B498-43B3-948B-1728B52AA6E4}">
                <adec:decorative xmlns:adec="http://schemas.microsoft.com/office/drawing/2017/decorative" val="1"/>
              </a:ext>
            </a:extLst>
          </p:cNvPr>
          <p:cNvSpPr/>
          <p:nvPr/>
        </p:nvSpPr>
        <p:spPr>
          <a:xfrm>
            <a:off x="487742" y="2194089"/>
            <a:ext cx="1590085" cy="1355564"/>
          </a:xfrm>
          <a:prstGeom prst="rightArrow">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AU" dirty="0"/>
              <a:t>About the OEST and the Online JSCI Trial</a:t>
            </a:r>
          </a:p>
        </p:txBody>
      </p:sp>
      <p:sp>
        <p:nvSpPr>
          <p:cNvPr id="10" name="Rectangle 9">
            <a:extLst>
              <a:ext uri="{FF2B5EF4-FFF2-40B4-BE49-F238E27FC236}">
                <a16:creationId xmlns:a16="http://schemas.microsoft.com/office/drawing/2014/main" id="{E6C2EA70-43B8-48ED-AECC-EEA22EDC2695}"/>
              </a:ext>
            </a:extLst>
          </p:cNvPr>
          <p:cNvSpPr/>
          <p:nvPr/>
        </p:nvSpPr>
        <p:spPr>
          <a:xfrm>
            <a:off x="2503764" y="1606279"/>
            <a:ext cx="3351546" cy="2985433"/>
          </a:xfrm>
          <a:prstGeom prst="rect">
            <a:avLst/>
          </a:prstGeom>
        </p:spPr>
        <p:txBody>
          <a:bodyPr wrap="square">
            <a:spAutoFit/>
          </a:bodyPr>
          <a:lstStyle/>
          <a:p>
            <a:pPr marL="285750" indent="-285750">
              <a:spcBef>
                <a:spcPts val="1200"/>
              </a:spcBef>
              <a:buFont typeface="Arial" panose="020B0604020202020204" pitchFamily="34" charset="0"/>
              <a:buChar char="•"/>
            </a:pPr>
            <a:r>
              <a:rPr lang="en-AU" sz="1400" dirty="0">
                <a:latin typeface="Arial Nova Cond" panose="020B0506020202020204" pitchFamily="34" charset="0"/>
              </a:rPr>
              <a:t>Testing </a:t>
            </a:r>
            <a:r>
              <a:rPr lang="en-AU" sz="1400" b="1" dirty="0">
                <a:latin typeface="Arial Nova Cond" panose="020B0506020202020204" pitchFamily="34" charset="0"/>
              </a:rPr>
              <a:t>whether employment services could be delivered online</a:t>
            </a:r>
            <a:r>
              <a:rPr lang="en-AU" sz="1400" dirty="0">
                <a:latin typeface="Arial Nova Cond" panose="020B0506020202020204" pitchFamily="34" charset="0"/>
              </a:rPr>
              <a:t> and the extent to which </a:t>
            </a:r>
            <a:r>
              <a:rPr lang="en-AU" sz="1400" b="1" dirty="0">
                <a:latin typeface="Arial Nova Cond" panose="020B0506020202020204" pitchFamily="34" charset="0"/>
              </a:rPr>
              <a:t>job-ready job seekers could self-manage using an online platform</a:t>
            </a:r>
            <a:r>
              <a:rPr lang="en-AU" sz="1400" dirty="0">
                <a:latin typeface="Arial Nova Cond" panose="020B0506020202020204" pitchFamily="34" charset="0"/>
              </a:rPr>
              <a:t>.</a:t>
            </a:r>
          </a:p>
          <a:p>
            <a:pPr marL="285750" indent="-285750">
              <a:spcBef>
                <a:spcPts val="1200"/>
              </a:spcBef>
              <a:buFont typeface="Arial" panose="020B0604020202020204" pitchFamily="34" charset="0"/>
              <a:buChar char="•"/>
            </a:pPr>
            <a:r>
              <a:rPr lang="en-AU" sz="1400" dirty="0">
                <a:latin typeface="Arial Nova Cond" panose="020B0506020202020204" pitchFamily="34" charset="0"/>
              </a:rPr>
              <a:t>As part of this we tested </a:t>
            </a:r>
            <a:r>
              <a:rPr lang="en-AU" sz="1400" b="1" dirty="0">
                <a:latin typeface="Arial Nova Cond" panose="020B0506020202020204" pitchFamily="34" charset="0"/>
              </a:rPr>
              <a:t>the feasibility of delivering the JSCI online </a:t>
            </a:r>
            <a:r>
              <a:rPr lang="en-AU" sz="1400" dirty="0">
                <a:latin typeface="Arial Nova Cond" panose="020B0506020202020204" pitchFamily="34" charset="0"/>
              </a:rPr>
              <a:t>and </a:t>
            </a:r>
            <a:r>
              <a:rPr lang="en-AU" sz="1400" b="1" dirty="0">
                <a:latin typeface="Arial Nova Cond" panose="020B0506020202020204" pitchFamily="34" charset="0"/>
              </a:rPr>
              <a:t>compared the consistency of JSCI scores between job seekers who completed the JSCI online</a:t>
            </a:r>
            <a:r>
              <a:rPr lang="en-AU" sz="1400" dirty="0">
                <a:latin typeface="Arial Nova Cond" panose="020B0506020202020204" pitchFamily="34" charset="0"/>
              </a:rPr>
              <a:t> with those who completed it with a provider.</a:t>
            </a:r>
          </a:p>
          <a:p>
            <a:pPr>
              <a:spcBef>
                <a:spcPts val="1200"/>
              </a:spcBef>
            </a:pPr>
            <a:endParaRPr lang="en-AU" sz="1400" dirty="0">
              <a:latin typeface="Arial Nova Cond" panose="020B0506020202020204" pitchFamily="34" charset="0"/>
            </a:endParaRPr>
          </a:p>
        </p:txBody>
      </p:sp>
      <p:sp>
        <p:nvSpPr>
          <p:cNvPr id="3" name="Rectangle 2">
            <a:extLst>
              <a:ext uri="{FF2B5EF4-FFF2-40B4-BE49-F238E27FC236}">
                <a16:creationId xmlns:a16="http://schemas.microsoft.com/office/drawing/2014/main" id="{388209AA-D7BA-402B-A498-DAE2E2FB2758}"/>
              </a:ext>
            </a:extLst>
          </p:cNvPr>
          <p:cNvSpPr/>
          <p:nvPr/>
        </p:nvSpPr>
        <p:spPr>
          <a:xfrm>
            <a:off x="559177" y="2574131"/>
            <a:ext cx="1310909" cy="584775"/>
          </a:xfrm>
          <a:prstGeom prst="rect">
            <a:avLst/>
          </a:prstGeom>
        </p:spPr>
        <p:txBody>
          <a:bodyPr wrap="square">
            <a:spAutoFit/>
          </a:bodyPr>
          <a:lstStyle/>
          <a:p>
            <a:pPr algn="ctr">
              <a:spcBef>
                <a:spcPts val="1200"/>
              </a:spcBef>
            </a:pPr>
            <a:r>
              <a:rPr lang="en-AU" sz="1600" dirty="0">
                <a:latin typeface="Arial Nova Cond" panose="020B0506020202020204" pitchFamily="34" charset="0"/>
              </a:rPr>
              <a:t>Started</a:t>
            </a:r>
            <a:r>
              <a:rPr lang="en-AU" sz="1600" b="1" dirty="0">
                <a:latin typeface="Arial Nova Cond" panose="020B0506020202020204" pitchFamily="34" charset="0"/>
              </a:rPr>
              <a:t> </a:t>
            </a:r>
            <a:br>
              <a:rPr lang="en-AU" sz="1600" b="1" dirty="0">
                <a:latin typeface="Arial Nova Cond" panose="020B0506020202020204" pitchFamily="34" charset="0"/>
              </a:rPr>
            </a:br>
            <a:r>
              <a:rPr lang="en-AU" sz="1600" b="1" dirty="0">
                <a:latin typeface="Arial Nova Cond" panose="020B0506020202020204" pitchFamily="34" charset="0"/>
              </a:rPr>
              <a:t>1 July 2018</a:t>
            </a:r>
          </a:p>
        </p:txBody>
      </p:sp>
      <p:sp>
        <p:nvSpPr>
          <p:cNvPr id="4" name="Rectangle 3">
            <a:extLst>
              <a:ext uri="{FF2B5EF4-FFF2-40B4-BE49-F238E27FC236}">
                <a16:creationId xmlns:a16="http://schemas.microsoft.com/office/drawing/2014/main" id="{72132B9C-59A0-4E1E-B0C2-4DB2AE74DBFC}"/>
              </a:ext>
            </a:extLst>
          </p:cNvPr>
          <p:cNvSpPr/>
          <p:nvPr/>
        </p:nvSpPr>
        <p:spPr>
          <a:xfrm>
            <a:off x="7089493" y="2420242"/>
            <a:ext cx="1682273" cy="738664"/>
          </a:xfrm>
          <a:prstGeom prst="rect">
            <a:avLst/>
          </a:prstGeom>
        </p:spPr>
        <p:txBody>
          <a:bodyPr wrap="square">
            <a:spAutoFit/>
          </a:bodyPr>
          <a:lstStyle/>
          <a:p>
            <a:r>
              <a:rPr lang="en-AU" sz="1400" dirty="0">
                <a:latin typeface="Arial Nova Cond" panose="020B0506020202020204" pitchFamily="34" charset="0"/>
              </a:rPr>
              <a:t>Both trials have ended, and have rolled into the OES</a:t>
            </a:r>
            <a:endParaRPr lang="en-AU" sz="1400" dirty="0"/>
          </a:p>
        </p:txBody>
      </p:sp>
      <p:sp>
        <p:nvSpPr>
          <p:cNvPr id="17" name="Arrow: Right 16">
            <a:extLst>
              <a:ext uri="{FF2B5EF4-FFF2-40B4-BE49-F238E27FC236}">
                <a16:creationId xmlns:a16="http://schemas.microsoft.com/office/drawing/2014/main" id="{9B025AC0-4D83-4416-A9C2-E853877EF61F}"/>
              </a:ext>
              <a:ext uri="{C183D7F6-B498-43B3-948B-1728B52AA6E4}">
                <adec:decorative xmlns:adec="http://schemas.microsoft.com/office/drawing/2017/decorative" val="1"/>
              </a:ext>
            </a:extLst>
          </p:cNvPr>
          <p:cNvSpPr/>
          <p:nvPr/>
        </p:nvSpPr>
        <p:spPr>
          <a:xfrm>
            <a:off x="6304567" y="2170702"/>
            <a:ext cx="662675" cy="1355564"/>
          </a:xfrm>
          <a:prstGeom prst="rightArrow">
            <a:avLst/>
          </a:prstGeom>
          <a:solidFill>
            <a:srgbClr val="E7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9571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F16E4CDC-65EA-40D8-8F53-48001CB216BB}"/>
              </a:ext>
              <a:ext uri="{C183D7F6-B498-43B3-948B-1728B52AA6E4}">
                <adec:decorative xmlns:adec="http://schemas.microsoft.com/office/drawing/2017/decorative" val="1"/>
              </a:ext>
            </a:extLst>
          </p:cNvPr>
          <p:cNvGrpSpPr/>
          <p:nvPr/>
        </p:nvGrpSpPr>
        <p:grpSpPr>
          <a:xfrm>
            <a:off x="457200" y="1272498"/>
            <a:ext cx="7732986" cy="3471386"/>
            <a:chOff x="2703241" y="1268973"/>
            <a:chExt cx="3501461" cy="1182567"/>
          </a:xfrm>
        </p:grpSpPr>
        <p:sp>
          <p:nvSpPr>
            <p:cNvPr id="7" name="Rectangle: Rounded Corners 6">
              <a:extLst>
                <a:ext uri="{FF2B5EF4-FFF2-40B4-BE49-F238E27FC236}">
                  <a16:creationId xmlns:a16="http://schemas.microsoft.com/office/drawing/2014/main" id="{9CFCB01A-B20D-48A9-AD2E-0600478E6E88}"/>
                </a:ext>
              </a:extLst>
            </p:cNvPr>
            <p:cNvSpPr/>
            <p:nvPr/>
          </p:nvSpPr>
          <p:spPr>
            <a:xfrm rot="10800000">
              <a:off x="2703242" y="1268973"/>
              <a:ext cx="3501460" cy="1182567"/>
            </a:xfrm>
            <a:prstGeom prst="roundRect">
              <a:avLst>
                <a:gd name="adj" fmla="val 5168"/>
              </a:avLst>
            </a:prstGeom>
            <a:solidFill>
              <a:schemeClr val="bg1"/>
            </a:solidFill>
            <a:ln>
              <a:noFill/>
            </a:ln>
            <a:effectLst>
              <a:outerShdw blurRad="50800" dist="127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9" name="Freeform: Shape 8">
              <a:extLst>
                <a:ext uri="{FF2B5EF4-FFF2-40B4-BE49-F238E27FC236}">
                  <a16:creationId xmlns:a16="http://schemas.microsoft.com/office/drawing/2014/main" id="{FD8D0C24-13E7-4F8E-BC39-C97F52A2864F}"/>
                </a:ext>
              </a:extLst>
            </p:cNvPr>
            <p:cNvSpPr/>
            <p:nvPr/>
          </p:nvSpPr>
          <p:spPr>
            <a:xfrm rot="10800000">
              <a:off x="2703241" y="1268973"/>
              <a:ext cx="76424" cy="1182567"/>
            </a:xfrm>
            <a:custGeom>
              <a:avLst/>
              <a:gdLst>
                <a:gd name="connsiteX0" fmla="*/ 0 w 225830"/>
                <a:gd name="connsiteY0" fmla="*/ 0 h 2554926"/>
                <a:gd name="connsiteX1" fmla="*/ 93791 w 225830"/>
                <a:gd name="connsiteY1" fmla="*/ 0 h 2554926"/>
                <a:gd name="connsiteX2" fmla="*/ 225830 w 225830"/>
                <a:gd name="connsiteY2" fmla="*/ 132039 h 2554926"/>
                <a:gd name="connsiteX3" fmla="*/ 225830 w 225830"/>
                <a:gd name="connsiteY3" fmla="*/ 2422887 h 2554926"/>
                <a:gd name="connsiteX4" fmla="*/ 93791 w 225830"/>
                <a:gd name="connsiteY4" fmla="*/ 2554926 h 2554926"/>
                <a:gd name="connsiteX5" fmla="*/ 0 w 225830"/>
                <a:gd name="connsiteY5" fmla="*/ 2554926 h 255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30" h="2554926">
                  <a:moveTo>
                    <a:pt x="0" y="0"/>
                  </a:moveTo>
                  <a:lnTo>
                    <a:pt x="93791" y="0"/>
                  </a:lnTo>
                  <a:cubicBezTo>
                    <a:pt x="166714" y="0"/>
                    <a:pt x="225830" y="59116"/>
                    <a:pt x="225830" y="132039"/>
                  </a:cubicBezTo>
                  <a:lnTo>
                    <a:pt x="225830" y="2422887"/>
                  </a:lnTo>
                  <a:cubicBezTo>
                    <a:pt x="225830" y="2495810"/>
                    <a:pt x="166714" y="2554926"/>
                    <a:pt x="93791" y="2554926"/>
                  </a:cubicBezTo>
                  <a:lnTo>
                    <a:pt x="0" y="2554926"/>
                  </a:lnTo>
                  <a:close/>
                </a:path>
              </a:pathLst>
            </a:custGeom>
            <a:solidFill>
              <a:srgbClr val="287D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grpSp>
      <p:sp>
        <p:nvSpPr>
          <p:cNvPr id="2" name="Title 1"/>
          <p:cNvSpPr>
            <a:spLocks noGrp="1"/>
          </p:cNvSpPr>
          <p:nvPr>
            <p:ph type="title"/>
          </p:nvPr>
        </p:nvSpPr>
        <p:spPr/>
        <p:txBody>
          <a:bodyPr/>
          <a:lstStyle/>
          <a:p>
            <a:r>
              <a:rPr lang="en-AU" dirty="0"/>
              <a:t>Key Findings – OEST</a:t>
            </a:r>
          </a:p>
        </p:txBody>
      </p:sp>
      <p:sp>
        <p:nvSpPr>
          <p:cNvPr id="8" name="Rectangle 7">
            <a:extLst>
              <a:ext uri="{FF2B5EF4-FFF2-40B4-BE49-F238E27FC236}">
                <a16:creationId xmlns:a16="http://schemas.microsoft.com/office/drawing/2014/main" id="{BDEDAB52-6191-4280-918D-CDFCB1944D4D}"/>
              </a:ext>
            </a:extLst>
          </p:cNvPr>
          <p:cNvSpPr/>
          <p:nvPr/>
        </p:nvSpPr>
        <p:spPr>
          <a:xfrm>
            <a:off x="1123892" y="1544895"/>
            <a:ext cx="7463773" cy="2739211"/>
          </a:xfrm>
          <a:prstGeom prst="rect">
            <a:avLst/>
          </a:prstGeom>
        </p:spPr>
        <p:txBody>
          <a:bodyPr wrap="square">
            <a:spAutoFit/>
          </a:bodyPr>
          <a:lstStyle/>
          <a:p>
            <a:pPr marL="285750" indent="-285750">
              <a:spcBef>
                <a:spcPts val="1200"/>
              </a:spcBef>
              <a:buFont typeface="Arial" panose="020B0604020202020204" pitchFamily="34" charset="0"/>
              <a:buChar char="•"/>
            </a:pPr>
            <a:r>
              <a:rPr lang="en-AU" sz="1400" dirty="0">
                <a:latin typeface="Arial Nova Cond" panose="020B0506020202020204" pitchFamily="34" charset="0"/>
              </a:rPr>
              <a:t>OEST participants:</a:t>
            </a:r>
          </a:p>
          <a:p>
            <a:pPr marL="742950" lvl="1" indent="-285750">
              <a:spcBef>
                <a:spcPts val="1200"/>
              </a:spcBef>
              <a:buFont typeface="Arial" panose="020B0604020202020204" pitchFamily="34" charset="0"/>
              <a:buChar char="•"/>
            </a:pPr>
            <a:r>
              <a:rPr lang="en-AU" sz="1400" dirty="0">
                <a:latin typeface="Arial Nova Cond" panose="020B0506020202020204" pitchFamily="34" charset="0"/>
              </a:rPr>
              <a:t>generally positive views and experiences.</a:t>
            </a:r>
          </a:p>
          <a:p>
            <a:pPr marL="742950" lvl="1" indent="-285750">
              <a:spcBef>
                <a:spcPts val="1200"/>
              </a:spcBef>
              <a:buFont typeface="Arial" panose="020B0604020202020204" pitchFamily="34" charset="0"/>
              <a:buChar char="•"/>
            </a:pPr>
            <a:r>
              <a:rPr lang="en-AU" sz="1400" dirty="0">
                <a:latin typeface="Arial Nova Cond" panose="020B0506020202020204" pitchFamily="34" charset="0"/>
              </a:rPr>
              <a:t>no more likely to incur demerit points and just as likely to exit Income Support or Employment Services.</a:t>
            </a:r>
          </a:p>
          <a:p>
            <a:pPr marL="742950" lvl="1" indent="-285750">
              <a:spcBef>
                <a:spcPts val="1200"/>
              </a:spcBef>
              <a:buFont typeface="Arial" panose="020B0604020202020204" pitchFamily="34" charset="0"/>
              <a:buChar char="•"/>
            </a:pPr>
            <a:r>
              <a:rPr lang="en-AU" sz="1400" dirty="0">
                <a:latin typeface="Arial Nova Cond" panose="020B0506020202020204" pitchFamily="34" charset="0"/>
              </a:rPr>
              <a:t>indicated online servicing more convenient, saving time and money.</a:t>
            </a:r>
          </a:p>
          <a:p>
            <a:pPr marL="285750" indent="-285750">
              <a:spcBef>
                <a:spcPts val="1200"/>
              </a:spcBef>
              <a:buFont typeface="Arial" panose="020B0604020202020204" pitchFamily="34" charset="0"/>
              <a:buChar char="•"/>
            </a:pPr>
            <a:r>
              <a:rPr lang="en-AU" sz="1400" dirty="0">
                <a:latin typeface="Arial Nova Cond" panose="020B0506020202020204" pitchFamily="34" charset="0"/>
              </a:rPr>
              <a:t>Some barriers to online participation and completion were identified.</a:t>
            </a:r>
          </a:p>
          <a:p>
            <a:pPr marL="285750" indent="-285750">
              <a:spcBef>
                <a:spcPts val="1200"/>
              </a:spcBef>
              <a:buFont typeface="Arial" panose="020B0604020202020204" pitchFamily="34" charset="0"/>
              <a:buChar char="•"/>
            </a:pPr>
            <a:r>
              <a:rPr lang="en-AU" sz="1400" dirty="0">
                <a:latin typeface="Arial Nova Cond" panose="020B0506020202020204" pitchFamily="34" charset="0"/>
              </a:rPr>
              <a:t>Online JSCI responses and streaming outcomes were consistent.</a:t>
            </a:r>
          </a:p>
          <a:p>
            <a:pPr marL="285750" indent="-285750">
              <a:spcBef>
                <a:spcPts val="1200"/>
              </a:spcBef>
              <a:buFont typeface="Arial" panose="020B0604020202020204" pitchFamily="34" charset="0"/>
              <a:buChar char="•"/>
            </a:pPr>
            <a:r>
              <a:rPr lang="en-AU" sz="1400" dirty="0">
                <a:latin typeface="Arial Nova Cond" panose="020B0506020202020204" pitchFamily="34" charset="0"/>
              </a:rPr>
              <a:t>Online JSCI was easy to use and time efficient.</a:t>
            </a:r>
          </a:p>
        </p:txBody>
      </p:sp>
    </p:spTree>
    <p:extLst>
      <p:ext uri="{BB962C8B-B14F-4D97-AF65-F5344CB8AC3E}">
        <p14:creationId xmlns:p14="http://schemas.microsoft.com/office/powerpoint/2010/main" val="3300022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Group 38">
            <a:extLst>
              <a:ext uri="{FF2B5EF4-FFF2-40B4-BE49-F238E27FC236}">
                <a16:creationId xmlns:a16="http://schemas.microsoft.com/office/drawing/2014/main" id="{60BD03FE-72F5-4F7A-8AE2-0D735FD91B49}"/>
              </a:ext>
              <a:ext uri="{C183D7F6-B498-43B3-948B-1728B52AA6E4}">
                <adec:decorative xmlns:adec="http://schemas.microsoft.com/office/drawing/2017/decorative" val="1"/>
              </a:ext>
            </a:extLst>
          </p:cNvPr>
          <p:cNvGrpSpPr/>
          <p:nvPr/>
        </p:nvGrpSpPr>
        <p:grpSpPr>
          <a:xfrm>
            <a:off x="457200" y="1272498"/>
            <a:ext cx="7732986" cy="3471386"/>
            <a:chOff x="2703241" y="1268973"/>
            <a:chExt cx="3501461" cy="1182567"/>
          </a:xfrm>
        </p:grpSpPr>
        <p:sp>
          <p:nvSpPr>
            <p:cNvPr id="40" name="Rectangle: Rounded Corners 39">
              <a:extLst>
                <a:ext uri="{FF2B5EF4-FFF2-40B4-BE49-F238E27FC236}">
                  <a16:creationId xmlns:a16="http://schemas.microsoft.com/office/drawing/2014/main" id="{830A3F3E-D1A3-42B5-8449-85FF2B8B1994}"/>
                </a:ext>
              </a:extLst>
            </p:cNvPr>
            <p:cNvSpPr/>
            <p:nvPr/>
          </p:nvSpPr>
          <p:spPr>
            <a:xfrm rot="10800000">
              <a:off x="2703242" y="1268973"/>
              <a:ext cx="3501460" cy="1182567"/>
            </a:xfrm>
            <a:prstGeom prst="roundRect">
              <a:avLst>
                <a:gd name="adj" fmla="val 5168"/>
              </a:avLst>
            </a:prstGeom>
            <a:solidFill>
              <a:schemeClr val="bg1"/>
            </a:solidFill>
            <a:ln>
              <a:noFill/>
            </a:ln>
            <a:effectLst>
              <a:outerShdw blurRad="50800" dist="127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dirty="0"/>
            </a:p>
          </p:txBody>
        </p:sp>
        <p:sp>
          <p:nvSpPr>
            <p:cNvPr id="41" name="Freeform: Shape 40">
              <a:extLst>
                <a:ext uri="{FF2B5EF4-FFF2-40B4-BE49-F238E27FC236}">
                  <a16:creationId xmlns:a16="http://schemas.microsoft.com/office/drawing/2014/main" id="{29D10AE2-40A4-4E6A-B108-78636034E23B}"/>
                </a:ext>
              </a:extLst>
            </p:cNvPr>
            <p:cNvSpPr/>
            <p:nvPr/>
          </p:nvSpPr>
          <p:spPr>
            <a:xfrm rot="10800000">
              <a:off x="2703241" y="1268973"/>
              <a:ext cx="76424" cy="1182567"/>
            </a:xfrm>
            <a:custGeom>
              <a:avLst/>
              <a:gdLst>
                <a:gd name="connsiteX0" fmla="*/ 0 w 225830"/>
                <a:gd name="connsiteY0" fmla="*/ 0 h 2554926"/>
                <a:gd name="connsiteX1" fmla="*/ 93791 w 225830"/>
                <a:gd name="connsiteY1" fmla="*/ 0 h 2554926"/>
                <a:gd name="connsiteX2" fmla="*/ 225830 w 225830"/>
                <a:gd name="connsiteY2" fmla="*/ 132039 h 2554926"/>
                <a:gd name="connsiteX3" fmla="*/ 225830 w 225830"/>
                <a:gd name="connsiteY3" fmla="*/ 2422887 h 2554926"/>
                <a:gd name="connsiteX4" fmla="*/ 93791 w 225830"/>
                <a:gd name="connsiteY4" fmla="*/ 2554926 h 2554926"/>
                <a:gd name="connsiteX5" fmla="*/ 0 w 225830"/>
                <a:gd name="connsiteY5" fmla="*/ 2554926 h 2554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30" h="2554926">
                  <a:moveTo>
                    <a:pt x="0" y="0"/>
                  </a:moveTo>
                  <a:lnTo>
                    <a:pt x="93791" y="0"/>
                  </a:lnTo>
                  <a:cubicBezTo>
                    <a:pt x="166714" y="0"/>
                    <a:pt x="225830" y="59116"/>
                    <a:pt x="225830" y="132039"/>
                  </a:cubicBezTo>
                  <a:lnTo>
                    <a:pt x="225830" y="2422887"/>
                  </a:lnTo>
                  <a:cubicBezTo>
                    <a:pt x="225830" y="2495810"/>
                    <a:pt x="166714" y="2554926"/>
                    <a:pt x="93791" y="2554926"/>
                  </a:cubicBezTo>
                  <a:lnTo>
                    <a:pt x="0" y="2554926"/>
                  </a:lnTo>
                  <a:close/>
                </a:path>
              </a:pathLst>
            </a:custGeom>
            <a:solidFill>
              <a:srgbClr val="287DB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dirty="0"/>
            </a:p>
          </p:txBody>
        </p:sp>
      </p:grpSp>
      <p:sp>
        <p:nvSpPr>
          <p:cNvPr id="2" name="Title 1"/>
          <p:cNvSpPr>
            <a:spLocks noGrp="1"/>
          </p:cNvSpPr>
          <p:nvPr>
            <p:ph type="title"/>
          </p:nvPr>
        </p:nvSpPr>
        <p:spPr/>
        <p:txBody>
          <a:bodyPr/>
          <a:lstStyle/>
          <a:p>
            <a:r>
              <a:rPr lang="en-AU" dirty="0"/>
              <a:t>Evaluation Key Findings – OEST</a:t>
            </a:r>
          </a:p>
        </p:txBody>
      </p:sp>
      <p:sp>
        <p:nvSpPr>
          <p:cNvPr id="7" name="Rectangle 6">
            <a:extLst>
              <a:ext uri="{FF2B5EF4-FFF2-40B4-BE49-F238E27FC236}">
                <a16:creationId xmlns:a16="http://schemas.microsoft.com/office/drawing/2014/main" id="{71DC2A70-04BE-44FF-8416-26456A610CB0}"/>
              </a:ext>
            </a:extLst>
          </p:cNvPr>
          <p:cNvSpPr/>
          <p:nvPr/>
        </p:nvSpPr>
        <p:spPr>
          <a:xfrm>
            <a:off x="1967560" y="2090661"/>
            <a:ext cx="2728636" cy="1785104"/>
          </a:xfrm>
          <a:prstGeom prst="rect">
            <a:avLst/>
          </a:prstGeom>
        </p:spPr>
        <p:txBody>
          <a:bodyPr wrap="square">
            <a:spAutoFit/>
          </a:bodyPr>
          <a:lstStyle/>
          <a:p>
            <a:pPr>
              <a:spcBef>
                <a:spcPts val="1800"/>
              </a:spcBef>
            </a:pPr>
            <a:r>
              <a:rPr lang="en-AU" sz="1300" b="1" dirty="0">
                <a:latin typeface="Arial Nova Cond" panose="020B0506020202020204" pitchFamily="34" charset="0"/>
              </a:rPr>
              <a:t>80% </a:t>
            </a:r>
            <a:r>
              <a:rPr lang="en-AU" sz="1300" dirty="0">
                <a:latin typeface="Arial Nova Cond" panose="020B0506020202020204" pitchFamily="34" charset="0"/>
              </a:rPr>
              <a:t>satisfied with </a:t>
            </a:r>
            <a:r>
              <a:rPr lang="en-AU" sz="1300" dirty="0" err="1">
                <a:latin typeface="Arial Nova Cond" panose="020B0506020202020204" pitchFamily="34" charset="0"/>
              </a:rPr>
              <a:t>jobactive</a:t>
            </a:r>
            <a:r>
              <a:rPr lang="en-AU" sz="1300" dirty="0">
                <a:latin typeface="Arial Nova Cond" panose="020B0506020202020204" pitchFamily="34" charset="0"/>
              </a:rPr>
              <a:t> website.</a:t>
            </a:r>
          </a:p>
          <a:p>
            <a:pPr>
              <a:spcBef>
                <a:spcPts val="1800"/>
              </a:spcBef>
            </a:pPr>
            <a:r>
              <a:rPr lang="en-AU" sz="1300" b="1" dirty="0">
                <a:latin typeface="Arial Nova Cond" panose="020B0506020202020204" pitchFamily="34" charset="0"/>
              </a:rPr>
              <a:t>78% </a:t>
            </a:r>
            <a:r>
              <a:rPr lang="en-AU" sz="1300" dirty="0">
                <a:latin typeface="Arial Nova Cond" panose="020B0506020202020204" pitchFamily="34" charset="0"/>
              </a:rPr>
              <a:t>website had functionality and features required.</a:t>
            </a:r>
          </a:p>
          <a:p>
            <a:pPr>
              <a:spcBef>
                <a:spcPts val="1800"/>
              </a:spcBef>
            </a:pPr>
            <a:r>
              <a:rPr lang="en-AU" sz="1300" b="1" dirty="0">
                <a:latin typeface="Arial Nova Cond" panose="020B0506020202020204" pitchFamily="34" charset="0"/>
              </a:rPr>
              <a:t>83% </a:t>
            </a:r>
            <a:r>
              <a:rPr lang="en-AU" sz="1300" dirty="0">
                <a:latin typeface="Arial Nova Cond" panose="020B0506020202020204" pitchFamily="34" charset="0"/>
              </a:rPr>
              <a:t>website functions easy to use.</a:t>
            </a:r>
          </a:p>
          <a:p>
            <a:pPr>
              <a:spcBef>
                <a:spcPts val="1800"/>
              </a:spcBef>
            </a:pPr>
            <a:r>
              <a:rPr lang="en-AU" sz="1300" b="1" dirty="0">
                <a:latin typeface="Arial Nova Cond" panose="020B0506020202020204" pitchFamily="34" charset="0"/>
              </a:rPr>
              <a:t>79% </a:t>
            </a:r>
            <a:r>
              <a:rPr lang="en-AU" sz="1300" dirty="0">
                <a:latin typeface="Arial Nova Cond" panose="020B0506020202020204" pitchFamily="34" charset="0"/>
              </a:rPr>
              <a:t>website was easy to navigate.</a:t>
            </a:r>
          </a:p>
        </p:txBody>
      </p:sp>
      <p:sp>
        <p:nvSpPr>
          <p:cNvPr id="8" name="Rectangle: Rounded Corners 7">
            <a:extLst>
              <a:ext uri="{FF2B5EF4-FFF2-40B4-BE49-F238E27FC236}">
                <a16:creationId xmlns:a16="http://schemas.microsoft.com/office/drawing/2014/main" id="{9906BC9B-E5BD-4E58-BF29-E6575779AD05}"/>
              </a:ext>
              <a:ext uri="{C183D7F6-B498-43B3-948B-1728B52AA6E4}">
                <adec:decorative xmlns:adec="http://schemas.microsoft.com/office/drawing/2017/decorative" val="1"/>
              </a:ext>
            </a:extLst>
          </p:cNvPr>
          <p:cNvSpPr/>
          <p:nvPr/>
        </p:nvSpPr>
        <p:spPr>
          <a:xfrm>
            <a:off x="4853056" y="1619023"/>
            <a:ext cx="3803357" cy="2801542"/>
          </a:xfrm>
          <a:prstGeom prst="roundRect">
            <a:avLst>
              <a:gd name="adj" fmla="val 5168"/>
            </a:avLst>
          </a:prstGeom>
          <a:solidFill>
            <a:schemeClr val="bg1"/>
          </a:solidFill>
          <a:ln w="12700">
            <a:solidFill>
              <a:srgbClr val="287DB2"/>
            </a:solidFill>
            <a:prstDash val="dash"/>
          </a:ln>
          <a:effectLst>
            <a:outerShdw blurRad="63500" dist="38100" dir="2700000" sx="99000" sy="99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350"/>
          </a:p>
        </p:txBody>
      </p:sp>
      <p:sp>
        <p:nvSpPr>
          <p:cNvPr id="9" name="Content Placeholder 2">
            <a:extLst>
              <a:ext uri="{FF2B5EF4-FFF2-40B4-BE49-F238E27FC236}">
                <a16:creationId xmlns:a16="http://schemas.microsoft.com/office/drawing/2014/main" id="{F33662C3-4F44-47D0-BF16-7241750E4DC9}"/>
              </a:ext>
            </a:extLst>
          </p:cNvPr>
          <p:cNvSpPr txBox="1">
            <a:spLocks/>
          </p:cNvSpPr>
          <p:nvPr/>
        </p:nvSpPr>
        <p:spPr>
          <a:xfrm>
            <a:off x="5154068" y="1754865"/>
            <a:ext cx="2532159" cy="623929"/>
          </a:xfrm>
          <a:prstGeom prst="rect">
            <a:avLst/>
          </a:prstGeom>
          <a:ln w="12700">
            <a:noFill/>
          </a:ln>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bg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bg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bg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AU" sz="1400" dirty="0">
                <a:solidFill>
                  <a:srgbClr val="00B050"/>
                </a:solidFill>
                <a:latin typeface="Arial Nova Cond" panose="020B0506020202020204" pitchFamily="34" charset="0"/>
              </a:rPr>
              <a:t>Online JSCI Trial:</a:t>
            </a:r>
          </a:p>
        </p:txBody>
      </p:sp>
      <p:sp>
        <p:nvSpPr>
          <p:cNvPr id="10" name="Rectangle 9">
            <a:extLst>
              <a:ext uri="{FF2B5EF4-FFF2-40B4-BE49-F238E27FC236}">
                <a16:creationId xmlns:a16="http://schemas.microsoft.com/office/drawing/2014/main" id="{C0CFBBCC-9D2E-450A-A34F-636845235C05}"/>
              </a:ext>
            </a:extLst>
          </p:cNvPr>
          <p:cNvSpPr/>
          <p:nvPr/>
        </p:nvSpPr>
        <p:spPr>
          <a:xfrm>
            <a:off x="6440835" y="2194128"/>
            <a:ext cx="2118243" cy="1985159"/>
          </a:xfrm>
          <a:prstGeom prst="rect">
            <a:avLst/>
          </a:prstGeom>
        </p:spPr>
        <p:txBody>
          <a:bodyPr wrap="square">
            <a:spAutoFit/>
          </a:bodyPr>
          <a:lstStyle/>
          <a:p>
            <a:pPr>
              <a:spcBef>
                <a:spcPts val="1800"/>
              </a:spcBef>
            </a:pPr>
            <a:r>
              <a:rPr lang="en-AU" sz="1300" b="1" dirty="0">
                <a:latin typeface="Arial Nova Cond" panose="020B0506020202020204" pitchFamily="34" charset="0"/>
              </a:rPr>
              <a:t>90% </a:t>
            </a:r>
            <a:r>
              <a:rPr lang="en-AU" sz="1300" dirty="0">
                <a:latin typeface="Arial Nova Cond" panose="020B0506020202020204" pitchFamily="34" charset="0"/>
              </a:rPr>
              <a:t> easy to use.</a:t>
            </a:r>
          </a:p>
          <a:p>
            <a:pPr>
              <a:spcBef>
                <a:spcPts val="1800"/>
              </a:spcBef>
            </a:pPr>
            <a:r>
              <a:rPr lang="en-AU" sz="1300" b="1" dirty="0">
                <a:latin typeface="Arial Nova Cond" panose="020B0506020202020204" pitchFamily="34" charset="0"/>
              </a:rPr>
              <a:t>93%</a:t>
            </a:r>
            <a:r>
              <a:rPr lang="en-AU" sz="1300" dirty="0">
                <a:latin typeface="Arial Nova Cond" panose="020B0506020202020204" pitchFamily="34" charset="0"/>
              </a:rPr>
              <a:t> instructions were easy.</a:t>
            </a:r>
          </a:p>
          <a:p>
            <a:pPr>
              <a:spcBef>
                <a:spcPts val="1800"/>
              </a:spcBef>
            </a:pPr>
            <a:r>
              <a:rPr lang="en-AU" sz="1300" b="1" dirty="0">
                <a:latin typeface="Arial Nova Cond" panose="020B0506020202020204" pitchFamily="34" charset="0"/>
              </a:rPr>
              <a:t>94% </a:t>
            </a:r>
            <a:r>
              <a:rPr lang="en-AU" sz="1300" dirty="0">
                <a:latin typeface="Arial Nova Cond" panose="020B0506020202020204" pitchFamily="34" charset="0"/>
              </a:rPr>
              <a:t>questions easy to understand.</a:t>
            </a:r>
          </a:p>
          <a:p>
            <a:pPr>
              <a:spcBef>
                <a:spcPts val="1800"/>
              </a:spcBef>
            </a:pPr>
            <a:r>
              <a:rPr lang="en-AU" sz="1300" b="1" dirty="0">
                <a:latin typeface="Arial Nova Cond" panose="020B0506020202020204" pitchFamily="34" charset="0"/>
              </a:rPr>
              <a:t>92% </a:t>
            </a:r>
            <a:r>
              <a:rPr lang="en-AU" sz="1300" dirty="0">
                <a:latin typeface="Arial Nova Cond" panose="020B0506020202020204" pitchFamily="34" charset="0"/>
              </a:rPr>
              <a:t>comfortable answering questions online. </a:t>
            </a:r>
          </a:p>
        </p:txBody>
      </p:sp>
      <p:grpSp>
        <p:nvGrpSpPr>
          <p:cNvPr id="12" name="Group 11">
            <a:extLst>
              <a:ext uri="{FF2B5EF4-FFF2-40B4-BE49-F238E27FC236}">
                <a16:creationId xmlns:a16="http://schemas.microsoft.com/office/drawing/2014/main" id="{71E7DB37-AE15-42E9-874B-B167725F8849}"/>
              </a:ext>
              <a:ext uri="{C183D7F6-B498-43B3-948B-1728B52AA6E4}">
                <adec:decorative xmlns:adec="http://schemas.microsoft.com/office/drawing/2017/decorative" val="1"/>
              </a:ext>
            </a:extLst>
          </p:cNvPr>
          <p:cNvGrpSpPr/>
          <p:nvPr/>
        </p:nvGrpSpPr>
        <p:grpSpPr>
          <a:xfrm>
            <a:off x="818680" y="2084303"/>
            <a:ext cx="1078284" cy="226873"/>
            <a:chOff x="638490" y="2503481"/>
            <a:chExt cx="3149631" cy="141299"/>
          </a:xfrm>
        </p:grpSpPr>
        <p:sp>
          <p:nvSpPr>
            <p:cNvPr id="13" name="Rectangle: Single Corner Rounded 12">
              <a:extLst>
                <a:ext uri="{FF2B5EF4-FFF2-40B4-BE49-F238E27FC236}">
                  <a16:creationId xmlns:a16="http://schemas.microsoft.com/office/drawing/2014/main" id="{DD6D7908-0E3D-42E1-B183-0A1042046773}"/>
                </a:ext>
              </a:extLst>
            </p:cNvPr>
            <p:cNvSpPr/>
            <p:nvPr/>
          </p:nvSpPr>
          <p:spPr>
            <a:xfrm>
              <a:off x="638491" y="2503481"/>
              <a:ext cx="3149630" cy="141299"/>
            </a:xfrm>
            <a:prstGeom prst="round1Rect">
              <a:avLst>
                <a:gd name="adj" fmla="val 50000"/>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sp>
          <p:nvSpPr>
            <p:cNvPr id="14" name="Rectangle: Single Corner Rounded 13">
              <a:extLst>
                <a:ext uri="{FF2B5EF4-FFF2-40B4-BE49-F238E27FC236}">
                  <a16:creationId xmlns:a16="http://schemas.microsoft.com/office/drawing/2014/main" id="{AB02A02E-BDEE-493D-B997-A0196151A32E}"/>
                </a:ext>
              </a:extLst>
            </p:cNvPr>
            <p:cNvSpPr/>
            <p:nvPr/>
          </p:nvSpPr>
          <p:spPr>
            <a:xfrm>
              <a:off x="638490" y="2503481"/>
              <a:ext cx="2705533" cy="141299"/>
            </a:xfrm>
            <a:prstGeom prst="round1Rect">
              <a:avLst>
                <a:gd name="adj" fmla="val 50000"/>
              </a:avLst>
            </a:prstGeom>
            <a:solidFill>
              <a:srgbClr val="287DB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dirty="0"/>
            </a:p>
          </p:txBody>
        </p:sp>
      </p:grpSp>
      <p:grpSp>
        <p:nvGrpSpPr>
          <p:cNvPr id="15" name="Group 14">
            <a:extLst>
              <a:ext uri="{FF2B5EF4-FFF2-40B4-BE49-F238E27FC236}">
                <a16:creationId xmlns:a16="http://schemas.microsoft.com/office/drawing/2014/main" id="{22FB6F63-9A17-46B6-B8AB-DD1B0ECB740B}"/>
              </a:ext>
              <a:ext uri="{C183D7F6-B498-43B3-948B-1728B52AA6E4}">
                <adec:decorative xmlns:adec="http://schemas.microsoft.com/office/drawing/2017/decorative" val="1"/>
              </a:ext>
            </a:extLst>
          </p:cNvPr>
          <p:cNvGrpSpPr/>
          <p:nvPr/>
        </p:nvGrpSpPr>
        <p:grpSpPr>
          <a:xfrm>
            <a:off x="818680" y="2697709"/>
            <a:ext cx="1078285" cy="226873"/>
            <a:chOff x="638487" y="2503481"/>
            <a:chExt cx="3149634" cy="141299"/>
          </a:xfrm>
        </p:grpSpPr>
        <p:sp>
          <p:nvSpPr>
            <p:cNvPr id="16" name="Rectangle: Single Corner Rounded 15">
              <a:extLst>
                <a:ext uri="{FF2B5EF4-FFF2-40B4-BE49-F238E27FC236}">
                  <a16:creationId xmlns:a16="http://schemas.microsoft.com/office/drawing/2014/main" id="{48D0A5CC-2E75-45B4-A15B-059BADB01E2B}"/>
                </a:ext>
              </a:extLst>
            </p:cNvPr>
            <p:cNvSpPr/>
            <p:nvPr/>
          </p:nvSpPr>
          <p:spPr>
            <a:xfrm>
              <a:off x="638491" y="2503481"/>
              <a:ext cx="3149630" cy="141299"/>
            </a:xfrm>
            <a:prstGeom prst="round1Rect">
              <a:avLst>
                <a:gd name="adj" fmla="val 50000"/>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sp>
          <p:nvSpPr>
            <p:cNvPr id="17" name="Rectangle: Single Corner Rounded 16">
              <a:extLst>
                <a:ext uri="{FF2B5EF4-FFF2-40B4-BE49-F238E27FC236}">
                  <a16:creationId xmlns:a16="http://schemas.microsoft.com/office/drawing/2014/main" id="{95A51413-FEFD-4BD5-B0C8-D50DA3CB5967}"/>
                </a:ext>
              </a:extLst>
            </p:cNvPr>
            <p:cNvSpPr/>
            <p:nvPr/>
          </p:nvSpPr>
          <p:spPr>
            <a:xfrm>
              <a:off x="638487" y="2503481"/>
              <a:ext cx="2631808" cy="141299"/>
            </a:xfrm>
            <a:prstGeom prst="round1Rect">
              <a:avLst>
                <a:gd name="adj" fmla="val 50000"/>
              </a:avLst>
            </a:prstGeom>
            <a:solidFill>
              <a:srgbClr val="287DB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grpSp>
      <p:grpSp>
        <p:nvGrpSpPr>
          <p:cNvPr id="18" name="Group 17">
            <a:extLst>
              <a:ext uri="{FF2B5EF4-FFF2-40B4-BE49-F238E27FC236}">
                <a16:creationId xmlns:a16="http://schemas.microsoft.com/office/drawing/2014/main" id="{BB012983-FBA0-4BB9-A297-3B8CCF37D7F4}"/>
              </a:ext>
              <a:ext uri="{C183D7F6-B498-43B3-948B-1728B52AA6E4}">
                <adec:decorative xmlns:adec="http://schemas.microsoft.com/office/drawing/2017/decorative" val="1"/>
              </a:ext>
            </a:extLst>
          </p:cNvPr>
          <p:cNvGrpSpPr/>
          <p:nvPr/>
        </p:nvGrpSpPr>
        <p:grpSpPr>
          <a:xfrm>
            <a:off x="818680" y="3197678"/>
            <a:ext cx="1078284" cy="226873"/>
            <a:chOff x="638490" y="2503481"/>
            <a:chExt cx="3149631" cy="141299"/>
          </a:xfrm>
        </p:grpSpPr>
        <p:sp>
          <p:nvSpPr>
            <p:cNvPr id="19" name="Rectangle: Single Corner Rounded 18">
              <a:extLst>
                <a:ext uri="{FF2B5EF4-FFF2-40B4-BE49-F238E27FC236}">
                  <a16:creationId xmlns:a16="http://schemas.microsoft.com/office/drawing/2014/main" id="{E41F9CD9-91B0-4475-8596-A0CC2291CF23}"/>
                </a:ext>
              </a:extLst>
            </p:cNvPr>
            <p:cNvSpPr/>
            <p:nvPr/>
          </p:nvSpPr>
          <p:spPr>
            <a:xfrm>
              <a:off x="638491" y="2503481"/>
              <a:ext cx="3149630" cy="141299"/>
            </a:xfrm>
            <a:prstGeom prst="round1Rect">
              <a:avLst>
                <a:gd name="adj" fmla="val 50000"/>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sp>
          <p:nvSpPr>
            <p:cNvPr id="20" name="Rectangle: Single Corner Rounded 19">
              <a:extLst>
                <a:ext uri="{FF2B5EF4-FFF2-40B4-BE49-F238E27FC236}">
                  <a16:creationId xmlns:a16="http://schemas.microsoft.com/office/drawing/2014/main" id="{3B103180-5000-4862-AEB6-3AB56BB5E993}"/>
                </a:ext>
              </a:extLst>
            </p:cNvPr>
            <p:cNvSpPr/>
            <p:nvPr/>
          </p:nvSpPr>
          <p:spPr>
            <a:xfrm>
              <a:off x="638490" y="2503481"/>
              <a:ext cx="2805693" cy="141299"/>
            </a:xfrm>
            <a:prstGeom prst="round1Rect">
              <a:avLst>
                <a:gd name="adj" fmla="val 50000"/>
              </a:avLst>
            </a:prstGeom>
            <a:solidFill>
              <a:srgbClr val="287DB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grpSp>
      <p:grpSp>
        <p:nvGrpSpPr>
          <p:cNvPr id="21" name="Group 20">
            <a:extLst>
              <a:ext uri="{FF2B5EF4-FFF2-40B4-BE49-F238E27FC236}">
                <a16:creationId xmlns:a16="http://schemas.microsoft.com/office/drawing/2014/main" id="{86F390D8-B4A1-476D-B30B-B0DF0256323A}"/>
              </a:ext>
              <a:ext uri="{C183D7F6-B498-43B3-948B-1728B52AA6E4}">
                <adec:decorative xmlns:adec="http://schemas.microsoft.com/office/drawing/2017/decorative" val="1"/>
              </a:ext>
            </a:extLst>
          </p:cNvPr>
          <p:cNvGrpSpPr/>
          <p:nvPr/>
        </p:nvGrpSpPr>
        <p:grpSpPr>
          <a:xfrm>
            <a:off x="818680" y="3633478"/>
            <a:ext cx="1078284" cy="226873"/>
            <a:chOff x="638490" y="2503481"/>
            <a:chExt cx="3149631" cy="141299"/>
          </a:xfrm>
        </p:grpSpPr>
        <p:sp>
          <p:nvSpPr>
            <p:cNvPr id="22" name="Rectangle: Single Corner Rounded 21">
              <a:extLst>
                <a:ext uri="{FF2B5EF4-FFF2-40B4-BE49-F238E27FC236}">
                  <a16:creationId xmlns:a16="http://schemas.microsoft.com/office/drawing/2014/main" id="{98908712-DBF8-4AAF-9AE4-523C1C3A6293}"/>
                </a:ext>
              </a:extLst>
            </p:cNvPr>
            <p:cNvSpPr/>
            <p:nvPr/>
          </p:nvSpPr>
          <p:spPr>
            <a:xfrm>
              <a:off x="638491" y="2503481"/>
              <a:ext cx="3149630" cy="141299"/>
            </a:xfrm>
            <a:prstGeom prst="round1Rect">
              <a:avLst>
                <a:gd name="adj" fmla="val 50000"/>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sp>
          <p:nvSpPr>
            <p:cNvPr id="23" name="Rectangle: Single Corner Rounded 22">
              <a:extLst>
                <a:ext uri="{FF2B5EF4-FFF2-40B4-BE49-F238E27FC236}">
                  <a16:creationId xmlns:a16="http://schemas.microsoft.com/office/drawing/2014/main" id="{DE7D1927-C9E3-4B4E-B90D-C47DD380F647}"/>
                </a:ext>
              </a:extLst>
            </p:cNvPr>
            <p:cNvSpPr/>
            <p:nvPr/>
          </p:nvSpPr>
          <p:spPr>
            <a:xfrm>
              <a:off x="638490" y="2503481"/>
              <a:ext cx="2705533" cy="141299"/>
            </a:xfrm>
            <a:prstGeom prst="round1Rect">
              <a:avLst>
                <a:gd name="adj" fmla="val 50000"/>
              </a:avLst>
            </a:prstGeom>
            <a:solidFill>
              <a:srgbClr val="287DB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grpSp>
      <p:grpSp>
        <p:nvGrpSpPr>
          <p:cNvPr id="24" name="Group 23">
            <a:extLst>
              <a:ext uri="{FF2B5EF4-FFF2-40B4-BE49-F238E27FC236}">
                <a16:creationId xmlns:a16="http://schemas.microsoft.com/office/drawing/2014/main" id="{E9BF13A0-5800-4FEC-AD09-D5E81764EA85}"/>
              </a:ext>
              <a:ext uri="{C183D7F6-B498-43B3-948B-1728B52AA6E4}">
                <adec:decorative xmlns:adec="http://schemas.microsoft.com/office/drawing/2017/decorative" val="1"/>
              </a:ext>
            </a:extLst>
          </p:cNvPr>
          <p:cNvGrpSpPr/>
          <p:nvPr/>
        </p:nvGrpSpPr>
        <p:grpSpPr>
          <a:xfrm>
            <a:off x="5225925" y="2238084"/>
            <a:ext cx="1078284" cy="226873"/>
            <a:chOff x="638490" y="2503481"/>
            <a:chExt cx="3149631" cy="141299"/>
          </a:xfrm>
        </p:grpSpPr>
        <p:sp>
          <p:nvSpPr>
            <p:cNvPr id="25" name="Rectangle: Single Corner Rounded 24">
              <a:extLst>
                <a:ext uri="{FF2B5EF4-FFF2-40B4-BE49-F238E27FC236}">
                  <a16:creationId xmlns:a16="http://schemas.microsoft.com/office/drawing/2014/main" id="{EB7DFE1B-6085-4446-AD35-AEF40755BDE6}"/>
                </a:ext>
              </a:extLst>
            </p:cNvPr>
            <p:cNvSpPr/>
            <p:nvPr/>
          </p:nvSpPr>
          <p:spPr>
            <a:xfrm>
              <a:off x="638491" y="2503481"/>
              <a:ext cx="3149630" cy="141299"/>
            </a:xfrm>
            <a:prstGeom prst="round1Rect">
              <a:avLst>
                <a:gd name="adj" fmla="val 50000"/>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sp>
          <p:nvSpPr>
            <p:cNvPr id="26" name="Rectangle: Single Corner Rounded 25">
              <a:extLst>
                <a:ext uri="{FF2B5EF4-FFF2-40B4-BE49-F238E27FC236}">
                  <a16:creationId xmlns:a16="http://schemas.microsoft.com/office/drawing/2014/main" id="{471395BF-2C0F-4078-B189-FE4CC5F1C849}"/>
                </a:ext>
              </a:extLst>
            </p:cNvPr>
            <p:cNvSpPr/>
            <p:nvPr/>
          </p:nvSpPr>
          <p:spPr>
            <a:xfrm>
              <a:off x="638490" y="2503481"/>
              <a:ext cx="2898405" cy="141299"/>
            </a:xfrm>
            <a:prstGeom prst="round1Rect">
              <a:avLst>
                <a:gd name="adj" fmla="val 50000"/>
              </a:avLst>
            </a:prstGeom>
            <a:solidFill>
              <a:srgbClr val="00B05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dirty="0"/>
            </a:p>
          </p:txBody>
        </p:sp>
      </p:grpSp>
      <p:grpSp>
        <p:nvGrpSpPr>
          <p:cNvPr id="27" name="Group 26">
            <a:extLst>
              <a:ext uri="{FF2B5EF4-FFF2-40B4-BE49-F238E27FC236}">
                <a16:creationId xmlns:a16="http://schemas.microsoft.com/office/drawing/2014/main" id="{45514AFD-B586-4638-B599-FAB9173F24E4}"/>
              </a:ext>
              <a:ext uri="{C183D7F6-B498-43B3-948B-1728B52AA6E4}">
                <adec:decorative xmlns:adec="http://schemas.microsoft.com/office/drawing/2017/decorative" val="1"/>
              </a:ext>
            </a:extLst>
          </p:cNvPr>
          <p:cNvGrpSpPr/>
          <p:nvPr/>
        </p:nvGrpSpPr>
        <p:grpSpPr>
          <a:xfrm>
            <a:off x="5228298" y="2663578"/>
            <a:ext cx="1078284" cy="226873"/>
            <a:chOff x="638490" y="2503481"/>
            <a:chExt cx="3149631" cy="141299"/>
          </a:xfrm>
        </p:grpSpPr>
        <p:sp>
          <p:nvSpPr>
            <p:cNvPr id="28" name="Rectangle: Single Corner Rounded 27">
              <a:extLst>
                <a:ext uri="{FF2B5EF4-FFF2-40B4-BE49-F238E27FC236}">
                  <a16:creationId xmlns:a16="http://schemas.microsoft.com/office/drawing/2014/main" id="{4F99794C-2E70-4200-920A-3CBBCEE5B3C0}"/>
                </a:ext>
              </a:extLst>
            </p:cNvPr>
            <p:cNvSpPr/>
            <p:nvPr/>
          </p:nvSpPr>
          <p:spPr>
            <a:xfrm>
              <a:off x="638491" y="2503481"/>
              <a:ext cx="3149630" cy="141299"/>
            </a:xfrm>
            <a:prstGeom prst="round1Rect">
              <a:avLst>
                <a:gd name="adj" fmla="val 50000"/>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sp>
          <p:nvSpPr>
            <p:cNvPr id="29" name="Rectangle: Single Corner Rounded 28">
              <a:extLst>
                <a:ext uri="{FF2B5EF4-FFF2-40B4-BE49-F238E27FC236}">
                  <a16:creationId xmlns:a16="http://schemas.microsoft.com/office/drawing/2014/main" id="{A5DF2781-FA8A-4ECC-BB19-B9A46D4DB328}"/>
                </a:ext>
              </a:extLst>
            </p:cNvPr>
            <p:cNvSpPr/>
            <p:nvPr/>
          </p:nvSpPr>
          <p:spPr>
            <a:xfrm>
              <a:off x="638490" y="2503481"/>
              <a:ext cx="3078132" cy="141299"/>
            </a:xfrm>
            <a:prstGeom prst="round1Rect">
              <a:avLst>
                <a:gd name="adj" fmla="val 50000"/>
              </a:avLst>
            </a:prstGeom>
            <a:solidFill>
              <a:srgbClr val="00B05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dirty="0"/>
            </a:p>
          </p:txBody>
        </p:sp>
      </p:grpSp>
      <p:grpSp>
        <p:nvGrpSpPr>
          <p:cNvPr id="30" name="Group 29">
            <a:extLst>
              <a:ext uri="{FF2B5EF4-FFF2-40B4-BE49-F238E27FC236}">
                <a16:creationId xmlns:a16="http://schemas.microsoft.com/office/drawing/2014/main" id="{2BAEDB01-A827-4BCD-AD4E-74557D729DB3}"/>
              </a:ext>
              <a:ext uri="{C183D7F6-B498-43B3-948B-1728B52AA6E4}">
                <adec:decorative xmlns:adec="http://schemas.microsoft.com/office/drawing/2017/decorative" val="1"/>
              </a:ext>
            </a:extLst>
          </p:cNvPr>
          <p:cNvGrpSpPr/>
          <p:nvPr/>
        </p:nvGrpSpPr>
        <p:grpSpPr>
          <a:xfrm>
            <a:off x="5225924" y="3172194"/>
            <a:ext cx="1078285" cy="226873"/>
            <a:chOff x="638487" y="2503481"/>
            <a:chExt cx="3149634" cy="141299"/>
          </a:xfrm>
        </p:grpSpPr>
        <p:sp>
          <p:nvSpPr>
            <p:cNvPr id="31" name="Rectangle: Single Corner Rounded 30">
              <a:extLst>
                <a:ext uri="{FF2B5EF4-FFF2-40B4-BE49-F238E27FC236}">
                  <a16:creationId xmlns:a16="http://schemas.microsoft.com/office/drawing/2014/main" id="{2EB5C286-1B91-491E-833D-CD27B2C0CA4D}"/>
                </a:ext>
              </a:extLst>
            </p:cNvPr>
            <p:cNvSpPr/>
            <p:nvPr/>
          </p:nvSpPr>
          <p:spPr>
            <a:xfrm>
              <a:off x="638491" y="2503481"/>
              <a:ext cx="3149630" cy="141299"/>
            </a:xfrm>
            <a:prstGeom prst="round1Rect">
              <a:avLst>
                <a:gd name="adj" fmla="val 50000"/>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sp>
          <p:nvSpPr>
            <p:cNvPr id="32" name="Rectangle: Single Corner Rounded 31">
              <a:extLst>
                <a:ext uri="{FF2B5EF4-FFF2-40B4-BE49-F238E27FC236}">
                  <a16:creationId xmlns:a16="http://schemas.microsoft.com/office/drawing/2014/main" id="{87556A11-B786-464E-9B06-831968165288}"/>
                </a:ext>
              </a:extLst>
            </p:cNvPr>
            <p:cNvSpPr/>
            <p:nvPr/>
          </p:nvSpPr>
          <p:spPr>
            <a:xfrm>
              <a:off x="638487" y="2503481"/>
              <a:ext cx="3078129" cy="141299"/>
            </a:xfrm>
            <a:prstGeom prst="round1Rect">
              <a:avLst>
                <a:gd name="adj" fmla="val 50000"/>
              </a:avLst>
            </a:prstGeom>
            <a:solidFill>
              <a:srgbClr val="00B05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grpSp>
      <p:grpSp>
        <p:nvGrpSpPr>
          <p:cNvPr id="33" name="Group 32">
            <a:extLst>
              <a:ext uri="{FF2B5EF4-FFF2-40B4-BE49-F238E27FC236}">
                <a16:creationId xmlns:a16="http://schemas.microsoft.com/office/drawing/2014/main" id="{81EAE429-E80E-47F4-B302-8FCD10675584}"/>
              </a:ext>
              <a:ext uri="{C183D7F6-B498-43B3-948B-1728B52AA6E4}">
                <adec:decorative xmlns:adec="http://schemas.microsoft.com/office/drawing/2017/decorative" val="1"/>
              </a:ext>
            </a:extLst>
          </p:cNvPr>
          <p:cNvGrpSpPr/>
          <p:nvPr/>
        </p:nvGrpSpPr>
        <p:grpSpPr>
          <a:xfrm>
            <a:off x="5225925" y="3771513"/>
            <a:ext cx="1078284" cy="226873"/>
            <a:chOff x="638490" y="2503481"/>
            <a:chExt cx="3149631" cy="141299"/>
          </a:xfrm>
        </p:grpSpPr>
        <p:sp>
          <p:nvSpPr>
            <p:cNvPr id="34" name="Rectangle: Single Corner Rounded 33">
              <a:extLst>
                <a:ext uri="{FF2B5EF4-FFF2-40B4-BE49-F238E27FC236}">
                  <a16:creationId xmlns:a16="http://schemas.microsoft.com/office/drawing/2014/main" id="{3799FAD6-7A46-46A3-8FE5-FBCB7EB0283A}"/>
                </a:ext>
              </a:extLst>
            </p:cNvPr>
            <p:cNvSpPr/>
            <p:nvPr/>
          </p:nvSpPr>
          <p:spPr>
            <a:xfrm>
              <a:off x="638491" y="2503481"/>
              <a:ext cx="3149630" cy="141299"/>
            </a:xfrm>
            <a:prstGeom prst="round1Rect">
              <a:avLst>
                <a:gd name="adj" fmla="val 50000"/>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sp>
          <p:nvSpPr>
            <p:cNvPr id="35" name="Rectangle: Single Corner Rounded 34">
              <a:extLst>
                <a:ext uri="{FF2B5EF4-FFF2-40B4-BE49-F238E27FC236}">
                  <a16:creationId xmlns:a16="http://schemas.microsoft.com/office/drawing/2014/main" id="{23FE68B3-27F7-432A-9DCA-85F12A012323}"/>
                </a:ext>
              </a:extLst>
            </p:cNvPr>
            <p:cNvSpPr/>
            <p:nvPr/>
          </p:nvSpPr>
          <p:spPr>
            <a:xfrm>
              <a:off x="638490" y="2503481"/>
              <a:ext cx="2898405" cy="141299"/>
            </a:xfrm>
            <a:prstGeom prst="round1Rect">
              <a:avLst>
                <a:gd name="adj" fmla="val 50000"/>
              </a:avLst>
            </a:prstGeom>
            <a:solidFill>
              <a:srgbClr val="00B050">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sz="750"/>
            </a:p>
          </p:txBody>
        </p:sp>
      </p:grpSp>
    </p:spTree>
    <p:extLst>
      <p:ext uri="{BB962C8B-B14F-4D97-AF65-F5344CB8AC3E}">
        <p14:creationId xmlns:p14="http://schemas.microsoft.com/office/powerpoint/2010/main" val="1112565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BZgGXEhoZKKHI326qWSO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Bf5qMt60dEdx6GgB3pi2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b_54YXwr154mDKtrU1btg"/>
</p:tagLst>
</file>

<file path=ppt/tags/tag1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Wy7QP_y0BYsgVp_RU.2Q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StaugGOqCkRBcr8ZWgEh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kD11xdBiGYXcdL6yA05S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hK5YljTnIYQp.bdFyQ_q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4ds_IfUfN9LTfvPdbwk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laZVB.NcntXf4aK1t4_mw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SaAfhl4ACqhS9Vw1fPs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3hZC6D8Km5uf0s2eqFl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pP1eRslIq2rdmtd9NAB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wCrYoBThj8sS2BEdwqZ8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z5UDolJ3ZKJbgrxq3Lc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bLnuNlL4ObJV_mSpS73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OIZBwWppwJK3JWyg_Rm5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LdiGVqW6C.GKLU2KCKdtU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aGYY9uFj7dEIYoMI1ppF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wQvlKAiNhUalheSc3Om0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V9Kld46VJ8HEjj6caBQV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unNQ0INZzVyIGAypmbVl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M9aZ_qgRszf5TmiRJge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NLrES9Z8EWuQJbcjJc6JC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cXu_NogwDcQ1uARv5I3F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RiFT8iJvlnyaYEWLrRN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3Kv5lmyu5XcNg1k.vEMhS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3xDx7AHKznQk.e8MYRJn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rln9r1mRHISTbiZ5kv1W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61i34pjIlNxGzn7nULuj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LrYV4ydz8AZ8R4I.qlfp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VB8qDj1.MZYnSPd4pyo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tXhDIzFUnSE00XT39qX2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Y37vqg3jnz7AqBY.8cE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C74aCbLzjRdbP4u0W48Gg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zNLeHCzrYh561kCqRM03z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fQEiN5uFvOGDMUQui_V8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KWxHCd4jUDyKPP8QNJjWD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ezxXhYuQbJymdSbyfvGF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ver pag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C1130F24-8C06-4FC3-8BB0-31AA841E315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3.xml><?xml version="1.0" encoding="utf-8"?>
<a:theme xmlns:a="http://schemas.openxmlformats.org/drawingml/2006/main" name="2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3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5.xml><?xml version="1.0" encoding="utf-8"?>
<a:theme xmlns:a="http://schemas.openxmlformats.org/drawingml/2006/main" name="6_Australian Government Grid Custom - 11216">
  <a:themeElements>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a:ea typeface=""/>
        <a:cs typeface=""/>
      </a:majorFont>
      <a:minorFont>
        <a:latin typeface="Calibri"/>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D3F"/>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6.xml><?xml version="1.0" encoding="utf-8"?>
<a:theme xmlns:a="http://schemas.openxmlformats.org/drawingml/2006/main" name="7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26F66D3E-6DA1-4C19-A478-1F45EE49710F}"/>
    </a:ext>
  </a:extLst>
</a:theme>
</file>

<file path=ppt/theme/theme7.xml><?xml version="1.0" encoding="utf-8"?>
<a:theme xmlns:a="http://schemas.openxmlformats.org/drawingml/2006/main" name="3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8.xml><?xml version="1.0" encoding="utf-8"?>
<a:theme xmlns:a="http://schemas.openxmlformats.org/drawingml/2006/main" name="4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9.xml><?xml version="1.0" encoding="utf-8"?>
<a:theme xmlns:a="http://schemas.openxmlformats.org/drawingml/2006/main" name="5_Whit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267EBA71-21F7-4875-9EC0-E2E871BD726E}" vid="{7F349792-24D5-458E-A4C2-D619AF20AAB1}"/>
    </a:ext>
  </a:extLst>
</a:theme>
</file>

<file path=ppt/theme/themeOverride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1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2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3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4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5.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5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0.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1.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2.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3.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4.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6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8.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ppt/theme/themeOverride9.xml><?xml version="1.0" encoding="utf-8"?>
<a:themeOverride xmlns:a="http://schemas.openxmlformats.org/drawingml/2006/main">
  <a:clrScheme name="Australian Goverment Client">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A0F22AF77F64547A5D9AD58CABD76E6" ma:contentTypeVersion="7" ma:contentTypeDescription="Create a new document." ma:contentTypeScope="" ma:versionID="6b5fa26cbe47059f3fdedda6d135757e">
  <xsd:schema xmlns:xsd="http://www.w3.org/2001/XMLSchema" xmlns:xs="http://www.w3.org/2001/XMLSchema" xmlns:p="http://schemas.microsoft.com/office/2006/metadata/properties" xmlns:ns3="83650a93-0e5d-4b6d-8906-a00ddc327cea" xmlns:ns4="c7efccd4-59c2-41d4-bec3-47db2b2e844a" targetNamespace="http://schemas.microsoft.com/office/2006/metadata/properties" ma:root="true" ma:fieldsID="b92b61ef15b2bdc50a139d1e4431abb9" ns3:_="" ns4:_="">
    <xsd:import namespace="83650a93-0e5d-4b6d-8906-a00ddc327cea"/>
    <xsd:import namespace="c7efccd4-59c2-41d4-bec3-47db2b2e844a"/>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650a93-0e5d-4b6d-8906-a00ddc327c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7efccd4-59c2-41d4-bec3-47db2b2e844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EE3C8E7D-0ABD-4E56-AFC1-1E4A857127F4}">
  <ds:schemaRefs>
    <ds:schemaRef ds:uri="83650a93-0e5d-4b6d-8906-a00ddc327cea"/>
    <ds:schemaRef ds:uri="c7efccd4-59c2-41d4-bec3-47db2b2e844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847B031-0593-4385-B3DD-91C3E65F4E4E}">
  <ds:schemaRefs>
    <ds:schemaRef ds:uri="http://schemas.microsoft.com/sharepoint/v3/contenttype/forms"/>
  </ds:schemaRefs>
</ds:datastoreItem>
</file>

<file path=customXml/itemProps3.xml><?xml version="1.0" encoding="utf-8"?>
<ds:datastoreItem xmlns:ds="http://schemas.openxmlformats.org/officeDocument/2006/customXml" ds:itemID="{DF55A463-E88A-4765-9A1A-8834114F8F6A}">
  <ds:schemaRefs>
    <ds:schemaRef ds:uri="http://schemas.microsoft.com/office/2006/metadata/properties"/>
    <ds:schemaRef ds:uri="http://purl.org/dc/dcmitype/"/>
    <ds:schemaRef ds:uri="c7efccd4-59c2-41d4-bec3-47db2b2e844a"/>
    <ds:schemaRef ds:uri="http://purl.org/dc/elements/1.1/"/>
    <ds:schemaRef ds:uri="http://purl.org/dc/term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83650a93-0e5d-4b6d-8906-a00ddc327cea"/>
  </ds:schemaRefs>
</ds:datastoreItem>
</file>

<file path=docProps/app.xml><?xml version="1.0" encoding="utf-8"?>
<Properties xmlns="http://schemas.openxmlformats.org/officeDocument/2006/extended-properties" xmlns:vt="http://schemas.openxmlformats.org/officeDocument/2006/docPropsVTypes">
  <Template>Powerpoint Template_Widescreen</Template>
  <TotalTime>110</TotalTime>
  <Words>4170</Words>
  <Application>Microsoft Office PowerPoint</Application>
  <PresentationFormat>Custom</PresentationFormat>
  <Paragraphs>321</Paragraphs>
  <Slides>23</Slides>
  <Notes>23</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41" baseType="lpstr">
      <vt:lpstr>Arial</vt:lpstr>
      <vt:lpstr>Arial Nova</vt:lpstr>
      <vt:lpstr>Arial Nova Cond</vt:lpstr>
      <vt:lpstr>Calibri</vt:lpstr>
      <vt:lpstr>Calibri Light</vt:lpstr>
      <vt:lpstr>Courier New</vt:lpstr>
      <vt:lpstr>Trebuchet MS</vt:lpstr>
      <vt:lpstr>Wingdings</vt:lpstr>
      <vt:lpstr>1_Cover page</vt:lpstr>
      <vt:lpstr>2_White</vt:lpstr>
      <vt:lpstr>2_Australian Government Grid Custom - 11216</vt:lpstr>
      <vt:lpstr>3_Australian Government Grid Custom - 11216</vt:lpstr>
      <vt:lpstr>6_Australian Government Grid Custom - 11216</vt:lpstr>
      <vt:lpstr>7_White</vt:lpstr>
      <vt:lpstr>3_White</vt:lpstr>
      <vt:lpstr>4_White</vt:lpstr>
      <vt:lpstr>5_White</vt:lpstr>
      <vt:lpstr>think-cell Slide</vt:lpstr>
      <vt:lpstr>NESA National Conference</vt:lpstr>
      <vt:lpstr>Acknowledgement of country</vt:lpstr>
      <vt:lpstr>Testing and trialing key elements </vt:lpstr>
      <vt:lpstr>Online Employment Services (OES)</vt:lpstr>
      <vt:lpstr>Online services caseload over time  (excluding NEST) 2020 – 2021</vt:lpstr>
      <vt:lpstr>Exits from online services  </vt:lpstr>
      <vt:lpstr>About the OEST and the Online JSCI Trial</vt:lpstr>
      <vt:lpstr>Key Findings – OEST</vt:lpstr>
      <vt:lpstr>Evaluation Key Findings – OEST</vt:lpstr>
      <vt:lpstr>Evaluation Key Findings – OEST feedback  challenges</vt:lpstr>
      <vt:lpstr>Enhancements in OES</vt:lpstr>
      <vt:lpstr>The New Employment Services Trial (NEST)</vt:lpstr>
      <vt:lpstr>NEST caseload over time</vt:lpstr>
      <vt:lpstr>Exits from the NEST</vt:lpstr>
      <vt:lpstr>Enhanced Services Outcomes claimed in NEST</vt:lpstr>
      <vt:lpstr>NEST Evaluation Findings Perspectives from initial evaluation fieldwork</vt:lpstr>
      <vt:lpstr>NEST Evaluation Findings:  What is working well?</vt:lpstr>
      <vt:lpstr>NEST Evaluation Findings:  What is working well?</vt:lpstr>
      <vt:lpstr>NEST Evaluation Findings:  What is working well?</vt:lpstr>
      <vt:lpstr>NEST findings into final policy </vt:lpstr>
      <vt:lpstr>Points Based Activation System</vt:lpstr>
      <vt:lpstr>Overview of the Points Based Activation System </vt:lpstr>
      <vt:lpstr>PBAS trial: Early feedback is positive</vt:lpstr>
    </vt:vector>
  </TitlesOfParts>
  <Company>Australian Governm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SM Update</dc:title>
  <dc:creator>PLATTS,Natasha</dc:creator>
  <cp:keywords>[SEC=OFFICIAL]</cp:keywords>
  <cp:lastModifiedBy>SABARRE,Alexis</cp:lastModifiedBy>
  <cp:revision>446</cp:revision>
  <cp:lastPrinted>2021-06-03T06:44:48Z</cp:lastPrinted>
  <dcterms:created xsi:type="dcterms:W3CDTF">2021-02-18T23:31:44Z</dcterms:created>
  <dcterms:modified xsi:type="dcterms:W3CDTF">2021-06-16T04:19:3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r8>67200</vt:r8>
  </property>
  <property fmtid="{D5CDD505-2E9C-101B-9397-08002B2CF9AE}" pid="3" name="xd_Signature">
    <vt:bool>false</vt:bool>
  </property>
  <property fmtid="{D5CDD505-2E9C-101B-9397-08002B2CF9AE}" pid="4" name="xd_ProgID">
    <vt:lpwstr/>
  </property>
  <property fmtid="{D5CDD505-2E9C-101B-9397-08002B2CF9AE}" pid="5" name="ContentTypeId">
    <vt:lpwstr>0x0101009A0F22AF77F64547A5D9AD58CABD76E6</vt:lpwstr>
  </property>
  <property fmtid="{D5CDD505-2E9C-101B-9397-08002B2CF9AE}" pid="6" name="Department Stream">
    <vt:lpwstr>Education</vt:lpwstr>
  </property>
  <property fmtid="{D5CDD505-2E9C-101B-9397-08002B2CF9AE}" pid="7" name="TemplateUrl">
    <vt:lpwstr/>
  </property>
  <property fmtid="{D5CDD505-2E9C-101B-9397-08002B2CF9AE}" pid="8" name="PM_ProtectiveMarkingImage_Header">
    <vt:lpwstr>C:\Program Files\Common Files\janusNET Shared\janusSEAL\Images\DocumentSlashBlue.png</vt:lpwstr>
  </property>
  <property fmtid="{D5CDD505-2E9C-101B-9397-08002B2CF9AE}" pid="9" name="PM_Caveats_Count">
    <vt:lpwstr>0</vt:lpwstr>
  </property>
  <property fmtid="{D5CDD505-2E9C-101B-9397-08002B2CF9AE}" pid="10" name="PM_DisplayValueSecClassificationWithQualifier">
    <vt:lpwstr>OFFICIAL</vt:lpwstr>
  </property>
  <property fmtid="{D5CDD505-2E9C-101B-9397-08002B2CF9AE}" pid="11" name="PM_Qualifier">
    <vt:lpwstr/>
  </property>
  <property fmtid="{D5CDD505-2E9C-101B-9397-08002B2CF9AE}" pid="12" name="PM_SecurityClassification">
    <vt:lpwstr>OFFICIAL</vt:lpwstr>
  </property>
  <property fmtid="{D5CDD505-2E9C-101B-9397-08002B2CF9AE}" pid="13" name="PM_InsertionValue">
    <vt:lpwstr>OFFICIAL</vt:lpwstr>
  </property>
  <property fmtid="{D5CDD505-2E9C-101B-9397-08002B2CF9AE}" pid="14" name="PM_Originating_FileId">
    <vt:lpwstr>9F0EE89053B54C8BAA416B14CB68DB05</vt:lpwstr>
  </property>
  <property fmtid="{D5CDD505-2E9C-101B-9397-08002B2CF9AE}" pid="15" name="PM_ProtectiveMarkingValue_Footer">
    <vt:lpwstr>OFFICIAL</vt:lpwstr>
  </property>
  <property fmtid="{D5CDD505-2E9C-101B-9397-08002B2CF9AE}" pid="16" name="PM_Originator_Hash_SHA1">
    <vt:lpwstr>473444A5A182C28D3B885A5A06FB65678356DE41</vt:lpwstr>
  </property>
  <property fmtid="{D5CDD505-2E9C-101B-9397-08002B2CF9AE}" pid="17" name="PM_OriginationTimeStamp">
    <vt:lpwstr>2021-05-11T23:33:34Z</vt:lpwstr>
  </property>
  <property fmtid="{D5CDD505-2E9C-101B-9397-08002B2CF9AE}" pid="18" name="PM_ProtectiveMarkingValue_Header">
    <vt:lpwstr>OFFICIAL</vt:lpwstr>
  </property>
  <property fmtid="{D5CDD505-2E9C-101B-9397-08002B2CF9AE}" pid="19" name="PM_ProtectiveMarkingImage_Footer">
    <vt:lpwstr>C:\Program Files\Common Files\janusNET Shared\janusSEAL\Images\DocumentSlashBlue.png</vt:lpwstr>
  </property>
  <property fmtid="{D5CDD505-2E9C-101B-9397-08002B2CF9AE}" pid="20" name="PM_Namespace">
    <vt:lpwstr>gov.au</vt:lpwstr>
  </property>
  <property fmtid="{D5CDD505-2E9C-101B-9397-08002B2CF9AE}" pid="21" name="PM_Version">
    <vt:lpwstr>2018.4</vt:lpwstr>
  </property>
  <property fmtid="{D5CDD505-2E9C-101B-9397-08002B2CF9AE}" pid="22" name="PM_Note">
    <vt:lpwstr/>
  </property>
  <property fmtid="{D5CDD505-2E9C-101B-9397-08002B2CF9AE}" pid="23" name="PM_Markers">
    <vt:lpwstr/>
  </property>
  <property fmtid="{D5CDD505-2E9C-101B-9397-08002B2CF9AE}" pid="24" name="PM_Hash_Version">
    <vt:lpwstr>2018.0</vt:lpwstr>
  </property>
  <property fmtid="{D5CDD505-2E9C-101B-9397-08002B2CF9AE}" pid="25" name="PM_Hash_Salt_Prev">
    <vt:lpwstr>BFE9CBA63A0E9219885010D03A7F421E</vt:lpwstr>
  </property>
  <property fmtid="{D5CDD505-2E9C-101B-9397-08002B2CF9AE}" pid="26" name="PM_Hash_Salt">
    <vt:lpwstr>087ECF0960731E07117F7380645CF819</vt:lpwstr>
  </property>
  <property fmtid="{D5CDD505-2E9C-101B-9397-08002B2CF9AE}" pid="27" name="PM_Hash_SHA1">
    <vt:lpwstr>765C6F56DF1EE2C6E5C66EDF22FDE3F95DA95E1D</vt:lpwstr>
  </property>
  <property fmtid="{D5CDD505-2E9C-101B-9397-08002B2CF9AE}" pid="28" name="PM_PrintOutPlacement_PPT">
    <vt:lpwstr>HandoutFooter,HandoutHeader,NotesHandoutFooter,NotesHandoutHeader,SlideFooter,SlideHeader</vt:lpwstr>
  </property>
  <property fmtid="{D5CDD505-2E9C-101B-9397-08002B2CF9AE}" pid="29" name="PM_SecurityClassification_Prev">
    <vt:lpwstr>OFFICIAL</vt:lpwstr>
  </property>
  <property fmtid="{D5CDD505-2E9C-101B-9397-08002B2CF9AE}" pid="30" name="PM_Qualifier_Prev">
    <vt:lpwstr/>
  </property>
</Properties>
</file>